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4"/>
    <p:sldMasterId id="2147483709" r:id="rId5"/>
  </p:sldMasterIdLst>
  <p:notesMasterIdLst>
    <p:notesMasterId r:id="rId20"/>
  </p:notesMasterIdLst>
  <p:handoutMasterIdLst>
    <p:handoutMasterId r:id="rId21"/>
  </p:handoutMasterIdLst>
  <p:sldIdLst>
    <p:sldId id="680" r:id="rId6"/>
    <p:sldId id="684" r:id="rId7"/>
    <p:sldId id="689" r:id="rId8"/>
    <p:sldId id="702" r:id="rId9"/>
    <p:sldId id="713" r:id="rId10"/>
    <p:sldId id="701" r:id="rId11"/>
    <p:sldId id="703" r:id="rId12"/>
    <p:sldId id="705" r:id="rId13"/>
    <p:sldId id="706" r:id="rId14"/>
    <p:sldId id="696" r:id="rId15"/>
    <p:sldId id="692" r:id="rId16"/>
    <p:sldId id="722" r:id="rId17"/>
    <p:sldId id="721" r:id="rId18"/>
    <p:sldId id="688" r:id="rId19"/>
  </p:sldIdLst>
  <p:sldSz cx="9144000" cy="6858000" type="screen4x3"/>
  <p:notesSz cx="7023100" cy="9309100"/>
  <p:embeddedFontLst>
    <p:embeddedFont>
      <p:font typeface="Arial Black" panose="020B0A04020102020204" pitchFamily="34" charset="0"/>
      <p:bold r:id="rId22"/>
    </p:embeddedFon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Verdana" panose="020B0604030504040204" pitchFamily="34" charset="0"/>
      <p:regular r:id="rId27"/>
      <p:bold r:id="rId28"/>
      <p:italic r:id="rId29"/>
      <p:boldItalic r:id="rId30"/>
    </p:embeddedFont>
  </p:embeddedFontLst>
  <p:custDataLst>
    <p:tags r:id="rId3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ousa, Diogo" initials="LD" lastIdx="4" clrIdx="6">
    <p:extLst/>
  </p:cmAuthor>
  <p:cmAuthor id="1" name="Shellie Crandall" initials="SC" lastIdx="17" clrIdx="0">
    <p:extLst/>
  </p:cmAuthor>
  <p:cmAuthor id="8" name="Schutzman, Ben" initials="SB" lastIdx="5" clrIdx="7">
    <p:extLst/>
  </p:cmAuthor>
  <p:cmAuthor id="2" name="neasley" initials="ne" lastIdx="17" clrIdx="1"/>
  <p:cmAuthor id="3" name="Frio, Melissa" initials="FM" lastIdx="1" clrIdx="2">
    <p:extLst/>
  </p:cmAuthor>
  <p:cmAuthor id="4" name="James Paci" initials="JP" lastIdx="28" clrIdx="3">
    <p:extLst/>
  </p:cmAuthor>
  <p:cmAuthor id="5" name="Troy McHenry" initials="TM" lastIdx="26" clrIdx="4">
    <p:extLst/>
  </p:cmAuthor>
  <p:cmAuthor id="6" name="Ben Schutzman" initials="BS" lastIdx="18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64145"/>
    <a:srgbClr val="27717A"/>
    <a:srgbClr val="35359B"/>
    <a:srgbClr val="00269E"/>
    <a:srgbClr val="70B8FF"/>
    <a:srgbClr val="FFD13F"/>
    <a:srgbClr val="92D050"/>
    <a:srgbClr val="D9D9D9"/>
    <a:srgbClr val="EFF6FF"/>
    <a:srgbClr val="1B1B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40" autoAdjust="0"/>
  </p:normalViewPr>
  <p:slideViewPr>
    <p:cSldViewPr>
      <p:cViewPr varScale="1">
        <p:scale>
          <a:sx n="66" d="100"/>
          <a:sy n="66" d="100"/>
        </p:scale>
        <p:origin x="1308" y="7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610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110" y="-91"/>
      </p:cViewPr>
      <p:guideLst>
        <p:guide orient="horz" pos="2928"/>
        <p:guide pos="2160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font" Target="fonts/font5.fntdata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4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3.fntdata"/><Relationship Id="rId32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theme" Target="theme/theme1.xml"/><Relationship Id="rId8" Type="http://schemas.openxmlformats.org/officeDocument/2006/relationships/slide" Target="slides/slide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6" y="0"/>
            <a:ext cx="3043238" cy="465138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6" y="8842376"/>
            <a:ext cx="3043238" cy="465138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224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69" tIns="47533" rIns="95069" bIns="47533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69" tIns="47533" rIns="95069" bIns="4753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3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3"/>
            <a:ext cx="3043343" cy="465455"/>
          </a:xfrm>
          <a:prstGeom prst="rect">
            <a:avLst/>
          </a:prstGeom>
        </p:spPr>
        <p:txBody>
          <a:bodyPr vert="horz" lIns="95069" tIns="47533" rIns="95069" bIns="47533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8571" indent="0">
              <a:spcBef>
                <a:spcPts val="60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802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76850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23180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81061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38027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6038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718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9362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292663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3859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07207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4932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542335819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4" y="6283325"/>
            <a:ext cx="261302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1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581196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1/23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1226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1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92" r:id="rId4"/>
    <p:sldLayoutId id="2147483694" r:id="rId5"/>
    <p:sldLayoutId id="2147483695" r:id="rId6"/>
    <p:sldLayoutId id="2147483716" r:id="rId7"/>
    <p:sldLayoutId id="2147483717" r:id="rId8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11/23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18551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image" Target="../media/image3.emf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10" Type="http://schemas.openxmlformats.org/officeDocument/2006/relationships/image" Target="../media/image10.emf"/><Relationship Id="rId4" Type="http://schemas.openxmlformats.org/officeDocument/2006/relationships/image" Target="../media/image4.emf"/><Relationship Id="rId9" Type="http://schemas.openxmlformats.org/officeDocument/2006/relationships/image" Target="../media/image9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1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5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264325"/>
            <a:ext cx="7924800" cy="466344"/>
          </a:xfrm>
        </p:spPr>
        <p:txBody>
          <a:bodyPr/>
          <a:lstStyle/>
          <a:p>
            <a:r>
              <a:rPr lang="en-US" dirty="0"/>
              <a:t>The RIDE Upd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85800" y="5105400"/>
            <a:ext cx="3352800" cy="762000"/>
          </a:xfrm>
        </p:spPr>
        <p:txBody>
          <a:bodyPr/>
          <a:lstStyle/>
          <a:p>
            <a:r>
              <a:rPr lang="en-US" dirty="0"/>
              <a:t>November 26th, 2018</a:t>
            </a:r>
          </a:p>
        </p:txBody>
      </p:sp>
    </p:spTree>
    <p:extLst>
      <p:ext uri="{BB962C8B-B14F-4D97-AF65-F5344CB8AC3E}">
        <p14:creationId xmlns:p14="http://schemas.microsoft.com/office/powerpoint/2010/main" val="1114689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</a:t>
            </a:r>
            <a:br>
              <a:rPr lang="en-US" dirty="0"/>
            </a:br>
            <a:r>
              <a:rPr lang="en-US" b="0" dirty="0"/>
              <a:t>The RIDE continues to focus on improving service in the near and long term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4648199" y="914400"/>
            <a:ext cx="4114801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Long-Term Initiatives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1" dirty="0">
                <a:latin typeface="Arial" panose="020B0604020202020204" pitchFamily="34" charset="0"/>
                <a:cs typeface="Arial" panose="020B0604020202020204" pitchFamily="34" charset="0"/>
              </a:rPr>
              <a:t>Software Procurement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rvice Provider Procurements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Vehicle Procurements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600" y="5486400"/>
            <a:ext cx="7924800" cy="43088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rgbClr val="35359B"/>
            </a:solidFill>
          </a:ln>
        </p:spPr>
        <p:txBody>
          <a:bodyPr wrap="square" tIns="91440" bIns="91440">
            <a:spAutoFit/>
          </a:bodyPr>
          <a:lstStyle/>
          <a:p>
            <a:pPr algn="ctr">
              <a:spcBef>
                <a:spcPts val="1800"/>
              </a:spcBef>
              <a:spcAft>
                <a:spcPts val="6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oday, we will highlight The RIDE’s ongoing software procurement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4114801" cy="3123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urrent Initiatives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oftware system tuning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river run structures rebids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ber and Lyft call center integration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adio upgrade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-vehicle tablet installation</a:t>
            </a:r>
          </a:p>
        </p:txBody>
      </p:sp>
    </p:spTree>
    <p:extLst>
      <p:ext uri="{BB962C8B-B14F-4D97-AF65-F5344CB8AC3E}">
        <p14:creationId xmlns:p14="http://schemas.microsoft.com/office/powerpoint/2010/main" val="35365968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: SOFTWARE PROCUREMENT</a:t>
            </a:r>
            <a:br>
              <a:rPr lang="en-US" dirty="0"/>
            </a:br>
            <a:r>
              <a:rPr lang="en-US" b="0" dirty="0"/>
              <a:t>A state-of-the-art software system is essential to the future of The RIDE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09600" y="990600"/>
            <a:ext cx="8229600" cy="5172908"/>
            <a:chOff x="609600" y="990600"/>
            <a:chExt cx="8229600" cy="5172908"/>
          </a:xfrm>
        </p:grpSpPr>
        <p:sp>
          <p:nvSpPr>
            <p:cNvPr id="6" name="Rounded Rectangle 5"/>
            <p:cNvSpPr/>
            <p:nvPr/>
          </p:nvSpPr>
          <p:spPr>
            <a:xfrm>
              <a:off x="6705600" y="3581400"/>
              <a:ext cx="2133600" cy="1576832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1" defTabSz="533400">
                <a:lnSpc>
                  <a:spcPct val="90000"/>
                </a:lnSpc>
              </a:pPr>
              <a:r>
                <a:rPr lang="en-US" sz="1400" b="1" dirty="0"/>
                <a:t>Customer Service </a:t>
              </a:r>
            </a:p>
            <a:p>
              <a:pPr marL="0" lvl="1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US" sz="1400" b="1" dirty="0"/>
                <a:t>and Reliability 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Data Security    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Cloud-Based Solution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Easily Updatable Customer Profiles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endParaRPr lang="en-US" sz="1400" dirty="0"/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685800" y="3581400"/>
              <a:ext cx="2106237" cy="157683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1" defTabSz="533400">
                <a:lnSpc>
                  <a:spcPct val="90000"/>
                </a:lnSpc>
              </a:pPr>
              <a:r>
                <a:rPr lang="en-US" sz="1400" b="1" dirty="0"/>
                <a:t>Customer Service </a:t>
              </a:r>
            </a:p>
            <a:p>
              <a:pPr marL="0" lvl="1" defTabSz="533400">
                <a:lnSpc>
                  <a:spcPct val="90000"/>
                </a:lnSpc>
                <a:spcAft>
                  <a:spcPct val="15000"/>
                </a:spcAft>
              </a:pPr>
              <a:r>
                <a:rPr lang="en-US" sz="1400" b="1" dirty="0"/>
                <a:t>and Reliability 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Accurate Real-      Time Information 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Multiple Communication Channels and Services</a:t>
              </a:r>
              <a:endParaRPr lang="en-US" sz="1400" kern="1200" dirty="0"/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400" kern="1200" dirty="0"/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400" kern="1200" dirty="0"/>
            </a:p>
            <a:p>
              <a:pPr marL="114300" lvl="1" indent="-114300" algn="l" defTabSz="5334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1400" kern="1200" dirty="0"/>
            </a:p>
            <a:p>
              <a:pPr marL="57150" lvl="1" indent="-57150" algn="l" defTabSz="266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700" kern="1200" dirty="0"/>
            </a:p>
            <a:p>
              <a:pPr marL="57150" lvl="1" indent="-57150" algn="l" defTabSz="2667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endParaRPr lang="en-US" sz="700" kern="1200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705599" y="990600"/>
              <a:ext cx="1981201" cy="157683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1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</a:pPr>
              <a:r>
                <a:rPr lang="en-US" sz="1400" b="1" dirty="0"/>
                <a:t>Reliability and Efficiency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Accurate Real-Time Information  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Automated / Assisted Decision-Making</a:t>
              </a:r>
            </a:p>
            <a:p>
              <a:pPr marL="114300" lvl="1" indent="-114300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dirty="0"/>
                <a:t>Predictive Capabilities</a:t>
              </a:r>
            </a:p>
          </p:txBody>
        </p:sp>
        <p:sp>
          <p:nvSpPr>
            <p:cNvPr id="10" name="Rounded Rectangle 9"/>
            <p:cNvSpPr/>
            <p:nvPr/>
          </p:nvSpPr>
          <p:spPr>
            <a:xfrm>
              <a:off x="699419" y="990600"/>
              <a:ext cx="1787818" cy="1576832"/>
            </a:xfrm>
            <a:prstGeom prst="roundRect">
              <a:avLst/>
            </a:prstGeom>
            <a:ln>
              <a:noFill/>
            </a:ln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t" anchorCtr="0">
              <a:noAutofit/>
            </a:bodyPr>
            <a:lstStyle/>
            <a:p>
              <a:pPr marL="0" lvl="1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</a:pPr>
              <a:r>
                <a:rPr lang="en-US" sz="1400" b="1" dirty="0"/>
                <a:t>Reliability and Efficiency  </a:t>
              </a:r>
              <a:endParaRPr lang="en-US" sz="1400" b="1" kern="1200" dirty="0"/>
            </a:p>
            <a:p>
              <a:pPr marL="114300" lvl="1" indent="-114300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kern="1200" dirty="0"/>
                <a:t>Dynamic Routing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kern="1200" dirty="0"/>
                <a:t>DSP and NDSP Optimization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kern="1200" dirty="0"/>
                <a:t>Daily Fleet and Shift Optimization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r>
                <a:rPr lang="en-US" sz="1400" kern="1200" dirty="0"/>
                <a:t>Predictive Capabilities</a:t>
              </a:r>
            </a:p>
            <a:p>
              <a:pPr marL="114300" lvl="1" indent="-114300" algn="l" defTabSz="533400">
                <a:lnSpc>
                  <a:spcPct val="90000"/>
                </a:lnSpc>
                <a:spcBef>
                  <a:spcPts val="600"/>
                </a:spcBef>
                <a:spcAft>
                  <a:spcPct val="15000"/>
                </a:spcAft>
                <a:buChar char="••"/>
              </a:pPr>
              <a:endParaRPr lang="en-US" sz="1400" kern="1200" dirty="0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09600" y="5486400"/>
              <a:ext cx="7924800" cy="6771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9050">
              <a:solidFill>
                <a:srgbClr val="35359B"/>
              </a:solidFill>
            </a:ln>
          </p:spPr>
          <p:txBody>
            <a:bodyPr wrap="square" tIns="91440" bIns="91440">
              <a:spAutoFit/>
            </a:bodyPr>
            <a:lstStyle/>
            <a:p>
              <a:pPr algn="ctr">
                <a:spcBef>
                  <a:spcPts val="1800"/>
                </a:spcBef>
                <a:spcAft>
                  <a:spcPts val="600"/>
                </a:spcAft>
              </a:pP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New software will drive improved customer experience, enhanced service reliability, and increased productivity and efficiency 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298112" y="990600"/>
            <a:ext cx="4365853" cy="4365853"/>
            <a:chOff x="2298112" y="990600"/>
            <a:chExt cx="4365853" cy="4365853"/>
          </a:xfrm>
        </p:grpSpPr>
        <p:sp>
          <p:nvSpPr>
            <p:cNvPr id="11" name="Freeform 10"/>
            <p:cNvSpPr/>
            <p:nvPr/>
          </p:nvSpPr>
          <p:spPr>
            <a:xfrm>
              <a:off x="2298112" y="990600"/>
              <a:ext cx="2133650" cy="2133650"/>
            </a:xfrm>
            <a:custGeom>
              <a:avLst/>
              <a:gdLst>
                <a:gd name="connsiteX0" fmla="*/ 0 w 2133650"/>
                <a:gd name="connsiteY0" fmla="*/ 2133650 h 2133650"/>
                <a:gd name="connsiteX1" fmla="*/ 2133650 w 2133650"/>
                <a:gd name="connsiteY1" fmla="*/ 0 h 2133650"/>
                <a:gd name="connsiteX2" fmla="*/ 2133650 w 2133650"/>
                <a:gd name="connsiteY2" fmla="*/ 2133650 h 2133650"/>
                <a:gd name="connsiteX3" fmla="*/ 0 w 2133650"/>
                <a:gd name="connsiteY3" fmla="*/ 2133650 h 213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650" h="2133650">
                  <a:moveTo>
                    <a:pt x="0" y="2133650"/>
                  </a:moveTo>
                  <a:cubicBezTo>
                    <a:pt x="0" y="955268"/>
                    <a:pt x="955268" y="0"/>
                    <a:pt x="2133650" y="0"/>
                  </a:cubicBezTo>
                  <a:lnTo>
                    <a:pt x="2133650" y="2133650"/>
                  </a:lnTo>
                  <a:lnTo>
                    <a:pt x="0" y="2133650"/>
                  </a:ln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52948" tIns="752948" rIns="128016" bIns="128016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Scheduling Engine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4530315" y="990600"/>
              <a:ext cx="2133650" cy="2133650"/>
            </a:xfrm>
            <a:custGeom>
              <a:avLst/>
              <a:gdLst>
                <a:gd name="connsiteX0" fmla="*/ 0 w 2133650"/>
                <a:gd name="connsiteY0" fmla="*/ 2133650 h 2133650"/>
                <a:gd name="connsiteX1" fmla="*/ 2133650 w 2133650"/>
                <a:gd name="connsiteY1" fmla="*/ 0 h 2133650"/>
                <a:gd name="connsiteX2" fmla="*/ 2133650 w 2133650"/>
                <a:gd name="connsiteY2" fmla="*/ 2133650 h 2133650"/>
                <a:gd name="connsiteX3" fmla="*/ 0 w 2133650"/>
                <a:gd name="connsiteY3" fmla="*/ 2133650 h 213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650" h="2133650">
                  <a:moveTo>
                    <a:pt x="0" y="0"/>
                  </a:moveTo>
                  <a:cubicBezTo>
                    <a:pt x="1178382" y="0"/>
                    <a:pt x="2133650" y="955268"/>
                    <a:pt x="2133650" y="2133650"/>
                  </a:cubicBezTo>
                  <a:lnTo>
                    <a:pt x="0" y="21336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752948" rIns="752948" bIns="128016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Dispatcher Interface</a:t>
              </a:r>
            </a:p>
          </p:txBody>
        </p:sp>
        <p:sp>
          <p:nvSpPr>
            <p:cNvPr id="13" name="Freeform 12"/>
            <p:cNvSpPr/>
            <p:nvPr/>
          </p:nvSpPr>
          <p:spPr>
            <a:xfrm>
              <a:off x="4530315" y="3222802"/>
              <a:ext cx="2133650" cy="2133651"/>
            </a:xfrm>
            <a:custGeom>
              <a:avLst/>
              <a:gdLst>
                <a:gd name="connsiteX0" fmla="*/ 0 w 2133650"/>
                <a:gd name="connsiteY0" fmla="*/ 2133650 h 2133650"/>
                <a:gd name="connsiteX1" fmla="*/ 2133650 w 2133650"/>
                <a:gd name="connsiteY1" fmla="*/ 0 h 2133650"/>
                <a:gd name="connsiteX2" fmla="*/ 2133650 w 2133650"/>
                <a:gd name="connsiteY2" fmla="*/ 2133650 h 2133650"/>
                <a:gd name="connsiteX3" fmla="*/ 0 w 2133650"/>
                <a:gd name="connsiteY3" fmla="*/ 2133650 h 213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650" h="2133650">
                  <a:moveTo>
                    <a:pt x="2133650" y="0"/>
                  </a:moveTo>
                  <a:cubicBezTo>
                    <a:pt x="2133650" y="1178382"/>
                    <a:pt x="1178382" y="2133650"/>
                    <a:pt x="0" y="2133650"/>
                  </a:cubicBezTo>
                  <a:lnTo>
                    <a:pt x="0" y="0"/>
                  </a:lnTo>
                  <a:lnTo>
                    <a:pt x="2133650" y="0"/>
                  </a:ln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28016" tIns="128016" rIns="752948" bIns="752948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Eligibility / Customer Database</a:t>
              </a:r>
            </a:p>
          </p:txBody>
        </p:sp>
        <p:sp>
          <p:nvSpPr>
            <p:cNvPr id="14" name="Freeform 13"/>
            <p:cNvSpPr/>
            <p:nvPr/>
          </p:nvSpPr>
          <p:spPr>
            <a:xfrm>
              <a:off x="2298112" y="3222803"/>
              <a:ext cx="2133650" cy="2133650"/>
            </a:xfrm>
            <a:custGeom>
              <a:avLst/>
              <a:gdLst>
                <a:gd name="connsiteX0" fmla="*/ 0 w 2133650"/>
                <a:gd name="connsiteY0" fmla="*/ 2133650 h 2133650"/>
                <a:gd name="connsiteX1" fmla="*/ 2133650 w 2133650"/>
                <a:gd name="connsiteY1" fmla="*/ 0 h 2133650"/>
                <a:gd name="connsiteX2" fmla="*/ 2133650 w 2133650"/>
                <a:gd name="connsiteY2" fmla="*/ 2133650 h 2133650"/>
                <a:gd name="connsiteX3" fmla="*/ 0 w 2133650"/>
                <a:gd name="connsiteY3" fmla="*/ 2133650 h 21336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33650" h="2133650">
                  <a:moveTo>
                    <a:pt x="2133650" y="2133650"/>
                  </a:moveTo>
                  <a:cubicBezTo>
                    <a:pt x="955268" y="2133650"/>
                    <a:pt x="0" y="1178382"/>
                    <a:pt x="0" y="0"/>
                  </a:cubicBezTo>
                  <a:lnTo>
                    <a:pt x="2133650" y="0"/>
                  </a:lnTo>
                  <a:lnTo>
                    <a:pt x="2133650" y="2133650"/>
                  </a:lnTo>
                  <a:close/>
                </a:path>
              </a:pathLst>
            </a:custGeom>
            <a:solidFill>
              <a:schemeClr val="accent1">
                <a:lumMod val="2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52948" tIns="128016" rIns="128016" bIns="752947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Customer Interface / Self Service Options</a:t>
              </a:r>
            </a:p>
          </p:txBody>
        </p:sp>
        <p:sp>
          <p:nvSpPr>
            <p:cNvPr id="15" name="Circular Arrow 14"/>
            <p:cNvSpPr/>
            <p:nvPr/>
          </p:nvSpPr>
          <p:spPr>
            <a:xfrm>
              <a:off x="4112700" y="2730043"/>
              <a:ext cx="736676" cy="640588"/>
            </a:xfrm>
            <a:prstGeom prst="circular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Circular Arrow 15"/>
            <p:cNvSpPr/>
            <p:nvPr/>
          </p:nvSpPr>
          <p:spPr>
            <a:xfrm rot="10800000">
              <a:off x="4112700" y="2976423"/>
              <a:ext cx="736676" cy="640588"/>
            </a:xfrm>
            <a:prstGeom prst="circularArrow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val="29428872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: SOFTWARE PROCUREMENT</a:t>
            </a:r>
            <a:br>
              <a:rPr lang="en-US" dirty="0"/>
            </a:br>
            <a:r>
              <a:rPr lang="en-US" b="0" dirty="0"/>
              <a:t>The procurement team has developed a strong contract to drive performanc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48531" y="914400"/>
            <a:ext cx="38186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spcBef>
                <a:spcPts val="1800"/>
              </a:spcBef>
              <a:spcAft>
                <a:spcPts val="600"/>
              </a:spcAft>
            </a:pPr>
            <a:r>
              <a:rPr lang="en-US" b="1" dirty="0"/>
              <a:t>Key New Element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3124200"/>
            <a:ext cx="8238269" cy="446276"/>
          </a:xfrm>
          <a:prstGeom prst="rect">
            <a:avLst/>
          </a:prstGeom>
          <a:noFill/>
        </p:spPr>
        <p:txBody>
          <a:bodyPr wrap="square" numCol="2" rtlCol="0">
            <a:spAutoFit/>
          </a:bodyPr>
          <a:lstStyle/>
          <a:p>
            <a:pPr marL="68580">
              <a:spcBef>
                <a:spcPts val="1800"/>
              </a:spcBef>
              <a:spcAft>
                <a:spcPts val="600"/>
              </a:spcAft>
            </a:pPr>
            <a:r>
              <a:rPr lang="en-US" b="1" dirty="0"/>
              <a:t>Evaluators / Subject Matter Expert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8531" y="3552859"/>
            <a:ext cx="3590069" cy="269304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15888"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MBTA Support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he RIDE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ystemwide Accessibility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nformation Technology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ustomer Technology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ocurement, Legal, Finance </a:t>
            </a:r>
          </a:p>
        </p:txBody>
      </p:sp>
      <p:sp>
        <p:nvSpPr>
          <p:cNvPr id="6" name="Rectangle 5"/>
          <p:cNvSpPr/>
          <p:nvPr/>
        </p:nvSpPr>
        <p:spPr>
          <a:xfrm>
            <a:off x="1028700" y="1524000"/>
            <a:ext cx="1905000" cy="1219200"/>
          </a:xfrm>
          <a:prstGeom prst="rect">
            <a:avLst/>
          </a:prstGeom>
          <a:solidFill>
            <a:schemeClr val="accent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artnerships and Integrated Systems</a:t>
            </a:r>
          </a:p>
        </p:txBody>
      </p:sp>
      <p:sp>
        <p:nvSpPr>
          <p:cNvPr id="8" name="Rectangle 7"/>
          <p:cNvSpPr/>
          <p:nvPr/>
        </p:nvSpPr>
        <p:spPr>
          <a:xfrm>
            <a:off x="3619500" y="1524000"/>
            <a:ext cx="1905000" cy="1219200"/>
          </a:xfrm>
          <a:prstGeom prst="rect">
            <a:avLst/>
          </a:prstGeom>
          <a:solidFill>
            <a:schemeClr val="accent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Pay for Performa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6210300" y="1524000"/>
            <a:ext cx="1905000" cy="1219200"/>
          </a:xfrm>
          <a:prstGeom prst="rect">
            <a:avLst/>
          </a:prstGeom>
          <a:solidFill>
            <a:schemeClr val="accent2">
              <a:lumMod val="2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d Contracting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038600" y="3552859"/>
            <a:ext cx="4800600" cy="2616101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15888" lvl="1">
              <a:lnSpc>
                <a:spcPct val="150000"/>
              </a:lnSpc>
              <a:spcBef>
                <a:spcPts val="600"/>
              </a:spcBef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ternal Support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Riders Transportation Access Group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utside counsel specializing in IT procurement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T and project management consultants </a:t>
            </a:r>
          </a:p>
          <a:p>
            <a:pPr marL="512763" lvl="1" indent="-28575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aratransit software consultants </a:t>
            </a:r>
          </a:p>
        </p:txBody>
      </p:sp>
    </p:spTree>
    <p:extLst>
      <p:ext uri="{BB962C8B-B14F-4D97-AF65-F5344CB8AC3E}">
        <p14:creationId xmlns:p14="http://schemas.microsoft.com/office/powerpoint/2010/main" val="9764813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OUS IMPROVEMENT: SOFTWARE PROCUREMENT</a:t>
            </a:r>
            <a:br>
              <a:rPr lang="en-US" dirty="0"/>
            </a:br>
            <a:r>
              <a:rPr lang="en-US" b="0" dirty="0"/>
              <a:t>Contract award is expected in early 2019, with initial implementation in the summer</a:t>
            </a:r>
          </a:p>
        </p:txBody>
      </p:sp>
      <p:sp>
        <p:nvSpPr>
          <p:cNvPr id="6" name="Rectangle 5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16DgJPVYv4JU8E0bcMXYhZ0E3FVExClT6I8LXAHpwNll8HfSL9HY4Fy+ZKx0GPShV6YONxXnS22F97kZu8jbw6WfvZjSr4wtpgV8jIOgnXr1nPp7pwBqoHo+lw3Nf7bOLdPlH7Dp7V36RSXChbvXFoQATvO7ayZfnyekfneoVOrtybiBQD53Q+AEwx8v4TSdQ62aeVAP399WvhKtGsujcecUpOO67oJATR3jSvhmnmb0/aCffWhOXMwJcd/dZVj1MKQMP9Qo5Av/ysD5aALexKaC66o+n1M6d7NDNmIeWDdj2WenqEb1E4+c9SYeeAUHwtuWWP3RiFjD8EqlKwfItEAQu21yQQzpHdepDDqxiHSxHkd6kSSCW0M0QCROJj0H6f3gMfqWQsgnhCF+rxY+/vtDvsl/beklqzo2zFo/cNI59bOyouuAPzM9u14hpOuf6IutoEij0o88zpo+2GUHJOyJlV93tCajCyLVtW1ubGamt7tchTqQYNBDhhSpwaG9ijOdF7zZYWd/zF0z+b1x+pFaCPtS24VnRj14UXLPPKbfBbmheeYGCr+rmub9yPIUk6RcR1tGtuaQX0mMcnY9crotFpQ33ca+IEkzpkD4Nm3C8scPo8tWgj5S7QckvE0j1KjS8OPlsCnUre7ua3BzbPPHhso1iW77RKrqDY+E/DypIuroB71O+Nrp/nTmifmZVr8VDECRmEArQcC/SAIH7H00HP9MVSqNDJkWtyNUhm3+yrtnBjZtRtIaIvlr5h3xT3HxrwRjAOBj82ihF8xkb9S1iEDzvIqLIpAFXnk3mDLviaXylMprp0Zpryi0i2Ui4rTXgmRIm8yNVI07bV4eEo1rOObK1DuQwrgSuth8YSi2GTgnl5sE+qjmy2DlePCKZS1/oTgU8Krsc9cHIF68BvHIJ1VTjJ7gnSF4PRSY3DlkKCHoOON5Fh6BnblXRLko7esKbWkHIxi/LOxLdPehrFSvmujFIyht23hcFxg53xXg5IGsGWwTI5MxR4ARbqo/FVfaRFmghSbkmPAL9VYhfT96eeI9fuLTgjoN/IrZewzlhVCTboFj3P5kj5SA8yfjD1wu817aNdH0HryAaqQmPpOHTHBy79jDeDB5hxcfvSJGfJ6xrIZ+wKtyoj0DcgpTF3AxhK73OxsOkWTHRuDqP0nyiz63DastCKG0v7wDw4oyuiZvWZ4thxa92npH5o1S56gV22nIcJOu/FgZhxXVZGtMXPEP/dQphirRRml1vdXKc1ZSZ7FUUFLzKjyc/rZN00RG1Ed7N1e4gE5oZUo6Xq+OrsVsPqhmIuhV64z8BI8LqWrQhg/RPOGDuTNnl+ofhxgZn6GrFGG3u9Gp29HAEUANEFG+VMMBJ5O0gEnuj+NVie0IFHvIK0AvBIK0P4qTrPw9/fNw3x2PM6/ug/jO8YjIEH+1TKkBy/vQ5ob2e0eZ0sFiNhknKraB8QTOvobEjxyQf9sHKomRelPdqA0VbmHxhHDBT2xPmwCWtrdERAMSwDLYclE4BIe1Mjx9x8N5WVZ0d/yMfc1CXQtwO5VSz6cTThlubcKsY5abkW7s0hGhxe0MFVneuIqIkugA18ty8ioTDg4DYV26jiu25WtKGeqTvUMPtjvNlId+WWbdnr5+eTlEvUq7GaYMGsX1GCcekw8THpq0MlV18PLofBkUe4cSMuVYmer9SlbRNOKT8vQEmncoqVXwEOUWaihI5BQkSEvyIPaZ41sTsyLJPpoaYVkyaWK/w4p5Rb7hOakdF6IWK79OSLMh1btyN3vf9y9meAvv4JTgD7YESDEky7n61sOnu1XnlxOuEMmeSqDZn0v0r/Bj2EjxVW9d0c0wcqZcnRIUcqg+9RoaFIIb/KFgTQxYIsPVtT+w7QWZRvl2fJE1yUBzUbdTuvLZPkHUMI5CezYmZP5QQXmOy4irNE18AsFH3jKUJEzPslcN81UtqTJpSdal0js5poZPpfI5+fQuxdkTdqfLjZkeuAJM33vtl5LPMOBBciWKaMKD6TN1EeBGZIzRO/0SSQ5ZW9bLMTGt50qJrXUHE1Xp3UpIhooyfqhgcoqdBxGzpp2SL3s8eoIR8jYSq+z1UqnrAAc1HwlLYS+9OOgUqABM/ncdxqutIV2qDFrUJj+pbm9kTrE8h/u9aTCKMLOlMeI3gKUySQjB+wEWe8MCmnT+jxuB2FNSknj4OBH2KCMi0E2AHxoVUieQr2mfBzru6BdLS1vZWvXB1uRKUihRDptdmMrsaTrWo1o9NpljZPzLfRA467QFCt+ufl5t/oRP8LX7YTLeIa7r0N1O8xKkuV9Qy5xz0LBCAKSNXOfYFbpkvLYo6LT4wriaau/Wyg6yk9iGAk7jjO/mY/U7uyAg4DqLveSqoXS8ATma0EeRWT1+RnAQ6BBa+7zcZNRujACTwezbMvpnOq+z5NmZAKqQX7Xcf8g/XGg4lGUIRJk/kNufx2StT0THEIAASlTtQ9GVOgdFGP3gbLp4Oz9j/DmaIjK9sh6clDvig5jQ5l9hu8jcHHMJdlEubW5fkv8BFvvM3V+xxQQ8A6Of7TF1zg21uRb0Q0PWTZrRB7cHyVP/famt9MuPItZ1Meipesyw8tLTbkpnnNEeqVkarysh7Ke8bI5FKqzLXy6yG50oHbfw+nCZRN6vk4dG3iLUKCtl2GRy0o+m0Adk+OpEnLpPg3Ht32MKoPrK7Vhsr8RaEMaGMmO/uHiRR7YE7g33JtYa6XdkBF6Mu58Upw/tR6SRjbkMt4uqbjJiAsHJdteXfpY+fxwySfuPTKmMgRJJ1ZrMUA5pI4tn1PRkAgry3jLEV8+zOuMwGPN+QuBBqYslqcz00IR1LES0jym3UWgnl2c9loJPQnGEjhgCT+FGjnOec7lLZUDjG8Bib7GZph451qIl8PwjDRR4Kb9UC0x35yj6wi5DgFniAuApPz5ABRh/Wf72j1IwVnZXUBKR71EbbWdHx3/JW7636Cq19ko3CN3sawO1kfz1BDfRQRR00kgdraRoJGOfcI/w3U8N8iFUq8T5gt0qgiwFWuaHc2GEGgTjg+wDlnuYSV14N49HuYzPt4A8/l4n2AA0yaneOX959l/L7IjmwRKi9EjXBz6YDXqQ8WTgNwt1aklnaZ3yWcCZq1NvgopJaY/86TvT/R+6t67VRwgSYpAUfXazpLf62lIqiVWlrV8IKofeAh8FE/GnTRmeVcA0k0MSMUtUzjv6kECaKwF7A/vSadseW7uBSG53M4K0XR6FYjYyrPZDVT7wDQQcXmJsBrZIXOiiHBj+kxyIntnQCP92HffZMr48DL/Q2PoifgcK1J1nJUGwtJaeOrU8kZYJ4AzdqQFhZogibudhBo1aYdrP9XpqbQsMh1Cl72urbahquTxd1U7nBTiYxk72Ndz7o5ru+YyGzj+LwIpsXfGgNkMziiuQzSmSLTVmYixuuuSliOv808CrWB8CfbCha2MmPNseQOp9kLnw65kfLNMJaeB0Nyui/8yZrhI0Us02e2OZVAxmZ/PA7gXLlRvQqrAs6NP9M/MFK34ohnUga8S0C9sf0LAdBvVGNr7qlUf6VAU6vtEV9/TQKZ2GInhDwllTK4ENK2og8+sYkybXW5muJJKUUfF7L/MeT/OGznyCUtdbSDAIwanW/HrPZn7Vk4h+op6BUZ+919kX9sjhlH0GKwWQZY3nIk9PBk8w/yXH+I9XQVbVT7kai5le5b98W4LAYhg1RHODccdqbeKdlroUbk306r+oDPxtakz+is0sLD7p2q+jvkuQ64hqd0uFhOIyZHFCINqxJXHhK/yCQhr9EZX8p+u2PkdiVdt6XVKePjIfU76NP4SXlboo9C1/5suWPQnWbvIdWHtMzblH0fBkKx2MEU0fqbIRLh+Tna8+S83KqqGoa7oXYPdVDHMk6HSnE/6l1QnaCJeBaJ7qG3IGO55mYVYdDjrRbY/K9CqlNVYz8BMxUGKZLoQZm03qbt0/WEeQKPjBHvK/Xm03t/2RjjZ4UGXfWAAqdkXOenAQnNZSNMi0jnHnoJHt6sVwIKif6tVc0Rj1ThMn0mmnaaW7V9Nxq6KMiwe6QiJVapPuAJVYw1SpqBWQts3gDdkE6+uvMZn5m7Ls64VTRyJRyPM9bc0VeQq210ExLI4D+ZdXxOVLpWiOSd2yJ2JNGQ6h/H94U3oPopYtc/FganQ0VGKttbh2DaM+rv5JQRDk6f2PzSFLlpucavbu3nP8f41Xusf7tVFfdQULNWjrm//6rDscf9OQTGz6LYW4rm9acLXLk7sfPUAQPdMXemvwtEhA5QcAzjLWVXFC6JMGdiQoMp9BRDbhoFOeLFQZkha9uvCmu1dFrSt4UK8PncDgCQsyq9kw9p1ulIZh+eIiHk/zmEOxWGukMftQDTJ2Z9VnbijIxPcbVhTTTl3HU54Bu8x3mepiUU9k8t4YFc0ecvNzaqcNJ+DWJ+ICrLdUQtjkGIeG9LBOtZnWZID1gj4VAXJ7nbKKEQTbSxhhkicJhmhc/qYjgye+19T1xI1vo6DDfc7i9MpDuMTgAeaAgTGOLb/qGJp/Q7Jh+RR3paTvWjJ1YwzWLqAr93P07WF1RzKnMrCqjecFEqKDsrEYFJdEpfBjHdF4y9GpDuhi8zaDz4irpSTeutWxE0nR96IuNVoNncB72Uin3/Oiq8JQvpteOz/rWKxkg3ZNLY2JifRARKG3NBJg6ZJvDMQ+ECfRrHE3QFSxU6OaqemIVVX9Vu05jxcJ+UqyXX94FsDsoTnnMYXJxBujXQeQe55apFiVAc617Wbn/mdvK/iqdjGXFydipYop0scjXyHCayKyRQ/j2JKFslsk6LDcchoCbSI1Liw5FlNjY3eXZTZkf95o8///3t/El3gWLFR41EOnfCNWwXraDm2gvaoOzoL2X6coKPXx5JRpbaHQvU/huO5jN6AqtygsEIKKsh8KzEiyGniUoybdPYCEyT53GQg72t2jw0UEMJR+33x3gsv6CUnLNHB6ttZV3CUoTqmPfPXoRbyyIARDVgcOBcT90o+G/7hkB7UoRMS4YUvElTKmtne9batUp0m0vfa1wpP3koewjyPnc2IBXS94Zu5CXr/fiWV/3FzA+8ZDSR2MGjXOCotyWwBVO75BDvx2Gfzi0jRuZTyU8Dob2K4ynZnBZxaxUOkduQN8uwwZrOHXauT8VSE7N9ixs6Xwiy2oPZvaTjPypJq9BEbG7TA3XDsr6YJiscG9fjTU4Oan/9ZckolOKK6KO/f9b7fnhrWoe2EyKDU+XSgmxZLZIEPDZIMxkE01LaAUl0u+RF+Tw8/MpyQnzlNvF5YNxEplGW0gpnvMBTDHpbxPXDYAIGiIes2Ur66YC3u6CWuFbkJzwhFiXxGs24DrYwcjR1qOpHT5J5f0y9WJNLnAZwDoZ3RQzOR8ees/lyK5evLHSE2OxP6oyQZEQgwyRACSwmvQqBemQRXktlLqGMw2qKKZcKXHBaMSx4pALK9GQM/BhswCZLKoMgUdGMpXmNh5O5tk8D9wOvEl/Gde8A9XVGGHa7+MwjuyxZZNjaCfO+D5lkDfD7neghJ8LK7cSlQvF6FVO2gYNQg7gnCJ07tWzKmvQuzdN917CHgC1OTEAPzFZzrJIIjnBfSJVi5/Soux7Zigkjm2/T7zFS6+OxC+VbkjZprBQCzcrdIYpERApVI1/SfCqxD2IkvNVKAFvC7RazkRuKHmlOXcyMPfDGeRu0DJCikSVhazlKM23afkEntcaNv3WT6izm0WXHNe6E48hIPX8CizMsfR8su9vRAHt7VhpM8eCq9C/SvUfPuIc9tAjFTa4UqtAvwKamHIj3cHtKs9XxZDVRXtTMb1q3AC2NnmJih4KGTIuWqJuJ5REsscl0uUUvfd+crHKLFUPf/W2ZXsLpHAQEh3nBGyuirighoTxDSiivXm54GCQazXHT+3nPXuD8X8H63CJ+/ANdtMteZWa9wz3xZOxWThcyqnMTZZCNn1pj9l5wWuGVQxUCk03cTMEN0btagCKusS1vOFHeEFJRkTPBqUMxjPGxfWJxs3vpA45Pwg8v+4+6KdtVnjYURcICYU/KwekSw9FuSoBdDtUmM094lT3bRywpvCuhjLAzLCeNIz1zww5hApVNjdpfBAtMo6Drd46pxrfJ4e99NCXej8Bce/U3A1mTwzAmfb0cyfv7Nrq15NzBiyLXtBqOdYkGJo0okarz7Hrt/d9O/TAdDfzjM7YJvCKigp6Id55tUmLhLfRJfcmHajejagLnksWs4rPaz5woKK3K2FadHHPp53zEWTK2ur0TsU5Ej4jVG9s+g9SWirRBlbks2gQ5U5YKxd1letGeh0JZiLYiGdDlKuZKVza/IjEInJg70Sq4MfhRGmfzar3TRH436ypwCu6F0E5PO9s+aXSfNlb5ltTuQR0db5NiMquK0gzrODF6htE+O32KINdl0K08wx3LAUlsBnDFWUkHXcO/ckU8EDdCIj950bkJRIuREeMBZrEvNvaDT4zRIc+VkMqWLci6Ek8ASGkkBNItmr6hB0TsSN6DJq9JS1eidC30An2vVidz3Pc2S2PgDIoX/G7NFtwrjiaewfa/k4X48YeiejsMcAPdwbo1VhnG7wVRPDmpE9ibRx+FYuPpywTQyiD5Filn3zPtQCK6S5DYu47MHRmbjFRZHlT5yk5ZkDMGY6wfXsRy1mSYHrrvbm5iqZEtL0Pm7CVBXxKTvG5CGIpal7LNQM7Gu7YFPW1Dk02VxOVzeOvN+T8LKOGXH3hGZ6SN/A6FKGreGvdA4D0CqX1xC+SPk1+p8xCEgEBcOkfnWIgHoMIOfWcvtMlp8lbas7wd0jKgba5lk9RvDhgjxVcZlvFZytXv0su21odL1/vXW6CfVOyIv9v8lHjm5fHrEd+QaC0e9U+puUI2OUGIp18715a0r2+MFNXe4d/3VNR7W6/b1aqxHiX4itj+sj1L4xnxvL/Qq5SC+VguUjqmhb6+InQoLsFSlVGYtaMh4lf0j3dvEHdJ993gjXAcIOsEtPYJ50CR+AXYy4ayZUP6JrtQZBJLgaGZo69YFhZiLzqsT28jJoWmr1E0YGY/CR7LB5VDAsm3okpX2LVJZ3Cjou4x8IpgJ1npyFeDY0e5Brv9PpOjmTxRDwTRGeL7KOUY1xPJqWkTg/Tt1yxD1mgZoLx4QyoB8nTHfK8vC6DxP9MYqlpoir5Xx3Si25vdDooaLgWZgOpbZQzaBYFrkliXz6+zQ4k3Epxo3B8FHcpg2QLw+RvPV4YMBNlhlIxr/GCrgr9r0vPrSNHWwL2jGaAjNTmUPWeUngk9mzfjbSAhtbJPb+lx2MmdDHxj3Omv4ou6z8F3u6oLCE/AkALgbodGK8rCwO1Ybd2xNiAq5f23ATGUV0P53wYBdvt1caLnExIgJN7heuRtiNngYnu1xBBTHzqIGApZB7ve06XfS4nzt4TMnqCZreul2vXwal7xqxXDRC79tlrpxWeF6gT6ggu8p9SYFnPVxgngIc0HMvN3pISBm5W9Q3leS2SJ586/J7wtvKZnDJLTFJgsc5MlqH/3FLXlabQDZlrASGDoKSBj6EFgaebyFn45xF/PdenUM46+jvyZdb7JNlUTa9KIroDxxZdu3jNHC5FUbWQOZJiKDGILPCKRMh8TK5rdxPLxHfR5tdIMTcYOgbvc1oh6qdFNB/eK8AMgX6O6JnLz/PR/5M59e5S4xOdtBhXYRnMEoPjxyQPLxnc1boYc03WF5dd0XOUnNnOa4eZdTatkW6P5/hM+I697lOVChvaPJOebOlT5I6Az0i5cRtp+ifdSiQ8xndDf+TWAqI/GttpE2Db9o06Lrggl4Wlop7OIqDQJ2lIg3U9jNX88zf/9mMyqZ2iitNGAUo4WuBdcJtZtFq4v3dXC4374rHOiyVJnNUlh+2fCvtQzixRc+LIN7ExTFFzkABrHfpOtjwkB+hrypQpVQNNsQ/W903JXSP50+CNQ+K06N/mZzkftLKfY2+5EJaJBv5fP4NKAoeu3LtswOn+gceWBXb5kYMKEoUyD6VWbGZjjWaVVvDnEWJ3V8otk2RvmRZKWThdqIuhTHB4nTKb2LaTrMvpsqsH4RAvEVyvU7ly6Uu4aIkx18jPSXZyIQGpSEoQgxfa5Gwy2FKjmCHAHe9Qn36EhDgr6dxVCvId8RksP+xb+IuxVHCF+a7kVfEJdPH2eFsF/UXf721KFmu/zmp/ebQD2US2cL40IkJPM6McElEjXGlBjQ20KjWS3x4se12RdxD/09NXD/S9DdoD2218BKHjSuA0vsU2+Y4c+NtHUQ/9vcKts/EFednbTAKPCWkMawUnoNnn0ufz1LNoMorZLEih8JdfkFy8oe1Mmy805XE/QDVpsp7Hvl3eMsjiMv6K9/nQF9NmF9UWIRQX23TpUbDBQX+XWR5Xym1IFtvL/TFANZ44CKRkAgOAWhzTE64rs6iVTJJAbGjRaiaqyO56q1gDNUUgNDy4IhMwMKZYWngPnvjQIF3dQvCzc71yHGzdfcCXjsCxX3FNnxOAYGPHB/lXB0EmHihRva2SLZR8eB1z0qCcdVdfw8xgSnLqy25Z7SJQC2dw5/h1uOCXD47Wqs7pOnePFc6sSu0uZMAIxaet44M2v3al2uTEb9FKoySTwXpCEaYMaq1ody84K5krhh6WoYeMBwtloqH+bZvbCX/vuNi043Btq3EiwKy9kaEiLUlhXzPrfqCvklNENY0qjkeag9fQpe06Ckc/fwswM36KirOHnMylG5kD0nM/jzNywpWJ4VX3dOZFnfjb/PLZjPu6LtTm00oepxe7YYTSIda6Rd+JfeQ616YpmZy/dhC00qNXMDrGB285VWhnYMTVPqfOjAKo6ZUQemetmsaY7c4gETswZYWr3N40X5ST6is13nsm+Tk6JED3Q1s+R5d7Vng8gFq9gakDoPnTU2mF6XTKJxqi2IpiCS5KAYzCR4VbWKLoX3ygx5SDKRprISDwJqG5gFRuij03EDvdR1ypTBe/gPfczH4+JLtvKWjY484CpU5Z0z4xHcejsmR+4PjbaUrQjf0euAuTw2OAPW8AsCmvbbo9IMCjn0hss9dMvJv9Ci9g7rh6/KgoSVWXi3OUuWKCI6I1f4sC4oo1aJxNJyJfagYm+OjBLlhz4KQ9CilPcXMWXKTYep3BMZ4pqNQRsSsoblZX4xGI5HLlZA69wuJT53uNQCB4VgUB3+2iaNz7cxHq8jzONA2G2NEQPSyL+DO9tqx57Kp0dVIBJHGRtmqLGHN8c/oA1xNGiydRmbPEjKFeu1C8JOWZI3icq0u9wNrVJeRI0Qrcina8Rvbu9DOSV8RHmYy6Zd0YfyXuXtPjF5/8caHAJRc1JTGMEKn+mtz8KmUvZPcqF8+Br+D+/H6BETsrnTY/SSsCxG/yft5SN9Wiy1d5xAfWBA7fR15srhwHSIpKytgKL7FbZwnYmunAP38/b1y5YlMiKgufZU2TrQPee5HeaGi7GwFIiUTwIGbuNamSdQIC4Oib+aNOc2zwqbgsEdHM99etBVY0O7NwUs24FULDHTrzGYkqled3pskeYi6LoRKYSzb/c4AIo6kSiWJLM9NGcGU+XSe2d994u3clJdoYwGYKQZwZmBynmp4NBAmMkC3uQv/ml1uL0rr2/YPEu2ngPL4P7ttVB6F4xinr1CVI3qwXqvVoPlUiAcDmQx29Pcie0+UTzroaosinKCUUZbWK4KOlc4SEsSgFp8baYIRMFeh3Qd5i65DlW618JPD9HSDeitwlVVQj9knhK4qwAWLZrH+O2rXVDrIya+TUwYusm5ma1oG/SAZ82dGOy0Dn/83Z/lPvB4K3P/CJ4yzzFfn9mUONUngfNZSZy72sLEQjaYR4af0HUOsHlN9iCpZi/fWLKfFN5cV9/MQjoDuWckN7oaDKhNybYGOpgk6k2dJdRNE7dzB1euX7MLfqeHMdhII0AOvf5+gQCK/NavRUW3Tk0k13jxLLR4aXL0+bIZ809OPv9zeuoJRD4Kz/d9zVl91yW2CF8F3gqX8T2LkgO2U7h3Zt9o/T/ovajMhyLwSq25gQJkdXSlzMXHY+0TELf6HUgAuuKeP862yW3c3w8QJAnEYPbdDlcfQZH1Ch9ALsLCquJx66wh6pVHPAVuEZO9DmzOrYZrci5BMVIGCQ3sXMclxf+z6s9XiS7LI+gkJD1Vy3t2XQndSXo/T32ZjygNysusoeDOESzaVnTRnXhz8+Vp1MncwRAFCOB7VEE40lZt8tiMXIXvCk5Fq6m+aikZyXKbCWCWSa9TJX+Xgxzk0Pg5Tw1eqB2uNtcQcXDGIBwwDp/Au19aFwf8tzJlCiI0Y2CV2pYzIJl3lLKfIIoIxnDEHq4vEvqYAxJrLhfbKrM8ei0EvspoDMO53y9UBYhAQcmCLXqv1d7GSCqZ0KzowC7AMwzwm8NNveIdYcF48mDZMQZTO6OPCLCdZZCHn3T0fQVoaumts5/KLjUPtOcRT3ItLIzRuQ3vXFzPvkNdB1mcFoX5yXHev6Pkmhg29a6/+9p0lqKpz8B17lS+T67qmmclqYTwxfFs5yvXCbuwdP0cWdXiVgnqExWxEWjVrZbiPU0YStk32eJusfGK9nQ8M+9c/fv0I6rRcP8DGTcVic8WM9un1zWmOoIY6Ht2TY3kIjPYp+77Iu4JpmWu8eeYDiSdzq55CBZBa8Hl8Sk8UZ6uHR2M9b2OXLphP/S/40+hWcBW3IUDyZ64Nf5HXmmyrHXk7FRB4Nirp0YcER1YiuBxbYoJFSpS9xYMoYI6/cTbMzhR+YEm8FzGMi1+30t/E0cAoPZ95xSTxVPgrLZRJ3+YuYzleWxFurpGlqILZD9eEvUt9JvL5M5N829aZzxVV/ozVImM8HypMQWZN6ZaeD5QjLyNVxwROGvy5x1nvEX+getm63hnbbiZmqhADzjI3v6UPMmcMT4ujW5sB+7N29XTmNvLPvJfaNcWB6jYNrZJn45TmEd+8KDUSCrfaFcmhtoPA5E5wdb7HE+HZkHTVkR36/hsuNy9Jg67qz6xeGCHewsri5/TA0RyxIjl85NhmJ9LZegM52mg0C9laUYoHeH4Yt55d+mg4kI9q5QX6XZz800/CzmgOkLdZEkMaVg3rM3QrHkXi3sDT9lvHhlLrTMaTBXr10qdh9ry/JRrXRWcE7PNZcA+/jVm+ljmw4tsaQeA5SK2DgauyVm0DaXJwR65gu9k45rEhhLkwQp8R9j9QYPvwBVBt9GK0hP8BJkar/FLDiwZ3UQwZy513HJvXVHoZ9AUDjGfqV0plWwpGYRp1Yp/A9CF8x6EEa2KbMCKJnY88fV7fmy6JCvCkq+Ah/ZsjaZxXf4FTsoAt9EMOgxqaxeKlk0Abaq9yeVGrXOsD6yeAvbU6C9D25EB9NKjRj9KxOQT/cgiGKjARlCws8UjXFLMlaRu3rS/PnQRYa7qRze4apMR1lBdAWuEh1Qvx8EXffIV0i4Fetz4I4le96YsEpKrc1rsRfwAsrSd/YWh7zNDZOWgXDXAqye1WLlpXt3Yf8UthlBdmM+OTJfyWew9mBOEIhU12CBVE6zeI3fwskUVeQijlxjoGU5NzX48reEpfvzXWgjqjEJFeG1teaorFyCha6vILlDke5+lf9eSengJiLBkAo6YDdm9ktxAgioK4Kz59YddyHoRBCvzFuSGiuZ9lJexaneCh1CGwce0KhjKaJtLRAT14GeWDon2LdwY6yi2lQjBjbLwh4ZFH9Z42Jzznq+38V2OKuYDgtgBHcek8J+96bJJhVTM8dMPvTZw4B+j4SN9VT6yRnpZaE7V58TmvU1j+BghGhfaWkmymjgqGnA5X8GKUwKM/2rib7/ZNB6GWEHFBud/p/cPorylViyHxvlpXaM1HicDZhg7FeaX9wEYpvOaIg5y5TZCNwGAPG1oE/WY4YwLct79qmgp/AATpyYi31kslOLPAAtaOVqDEL79AFdGekcSMzkcyZ20ZoBUdm+s1j6aQOCjxTG5V+5GF5tTrhNYTrNMbuem2C8iejC1afxWXINt67S6UXsg220eHRtYsosrAAJTxK6brJBNzee3xBpS2kkU5AaMipZ9pgAAQRIHJZqEuYHYz6ynNI5dAPbvxxMN0EsXukwYJqZmCPtpvpNHzgu4EoKCgHC2hYAX1Gv2NkTAVwF0/oUJQppSD+pj2K9nVqrtbj6eR1oBck1c2R8Ilg/Oh90bAd2x3rCIDRmOiirVw8cisCCCydz+VgwFGMjGxjabFyxJKKahqI1QzwT/hBwBNb0ena7utX935sBkCoy3s8sWafuAqwlFVlBTcyxcVVNrhpYsoJ0+lUza8iJHy3k1vKhlr4nE7/2JFchuLg7C+x6OWCnuRJJ5238gPm6Y4XN8RE2Cvj8K9hLXHzS/GM4RdrYfSgcdm5BBXPZR8FHt55ABU6NQPB96cWZWnlk3mtBKMY6ZHVc8Ma0n34hAMa659XGkPdIGf3CRZtYz+n6exkmuN6thSuLWxsEfxHLCinw7/534fCUgwPMRPdHIhJogV21N/Zde1z7Jl4HnbvzLry2vSQKTagbtIdn/zKwri5e9u0sNoF8XscZ/7q2Ek5lM9TXxpTFkKQ2Fr0/qLH/HIOThH6uSVXJ045Dba3N7Qbpbf/dCP6527+NkrVb6WmJl9OT+Qo4ZuAnzMJ2QoHn0Gwl+jKhvI/FrtKC/1ojSakn316ibbA57LDdWwUI/SDlxRKcLdnR/ynsFj6FStETrkOaJJq5C22HsvFcCovph/dpl7BBYbsbCY9QU2/4xGX7mbiXbyo0bcG7SpDTiF7uN7VD4tFpqZjO8tNVBst9ZmcfiwJfMffMkOCgqU/1bt6XbQwCj/cDqB/07FRWMpCbGRYs5r0tHls0rINtx3R3mdl1XQ9+iWNWfa+Cbwpz5zCheHJtUYhhpCNIu0lIo97lt1bvLdFr8SDBalq74cTGj6lpZcYhPLzcZauAxnyIAogvCiBLQOg7DmCbBBKeeubkhC46P7M+7wfEV3hFvfo3j4Qkd5OGekgHJooYM4108yAyNf3xK5FcnxpDWuD4x3FK659SVVZYx4FwewtbOFeunSOy60s0OPoqsJ71XhO7mb3FylIMYaqFUYtqrER6ZUEbfqO26gPMRrJCMtuhbl2epe90OodZFk/4rKWH5Ek7V/Bu0myr1UQDwCIZgC8JhTJqCb0Jt4bUJlNpb+BVTw7wlaDyqpkGvXtkXMwyXKJDCrItGLaNhKjppCDBCF58h5p2mNlhqMa0UyKDxW0rkYT31bytdj10mj89m59GwzHLA/j4m3v3iwDqc1bPxumcpTLhUyLcjmjqa72pznYZThA+JT8CQoibftbAgl/e4ep/eHPoXLDORQlw2M5e5ODtZptpdgZoeOGyjM0HvMMYjTr4XOag9ZA7CzZKaz/hcYDpr+K4ziMzEiVQdusRr3hVL/VdekC7HjfWUaSltc3CTE3uJEUmlsmy4UqcjSY9Euc+LfZTUiS2iex5nbwtF4tFenDyjElZN0xRSBHcLuiIYrC82udKIm9yAGn1e9iVFWyG0c2R0nIqC4giuI5v0LFKsW9o/q5C1MwRbH9l9DZ+ink0HoF/onBCVmbgHPCfyyOTdQsI/ftvBZOuy04bfzoYrp69IjPP35Kfvbi9I/Gr0kYYunTk8Zl97ITQKldOhefU0D6OLYm/+x8HNg4OiMH7uZHffsc9H+jsnrY8P06kzdnQPGYSQUC/QAfa50W7uogGdaihbHCEaqCMmbcJRL7J8X9ddg27/TdZnGWVJ8YN3rdz8Zq7KPkIj4ZSqN9sRuvIxJj9OcYs/hP5Y6d9rIVpE7YzJXVtKE7XydnHsION05Zgp40C30XMFo3zq6fFk/61myXn2Fa5A708DK5jOBeWheD6et1YzC7Rr47glKnu+TSn87wYmdXCLCEOgRm9pXEi2xdaKgv4w5vgtx5UkdbDJvm9Q8u0hHkxRYzLoBaHrcWbvOrYcl9fbUpoUTjfoGmpyAtCCMsjhYityrCxEsVgsBl4jHkGOb9gFKBsUba6WKde6SErqg80WOv5zZCvipGfKkL9vAVOgOhmNFaD+O9UDhib5nNGbV4td32d8oHoAYxsoVhUntfxzwYT3hO6yFopfVnAF1/eDF6PbK1BPZZS3QoyY9hvgIMOPEcZm4GRquISnt03QAfRy+orUsZSTApqr+9VxbXBE+uEOb7dgLDWEdD0A9YkiWTNi3rbdg3WJnZNwL9UHhthnwrfYYiuOaX3r13BXuy9DYJ6bE79XNcf886uz15WruFh6rsS6cTtyXIjjQ3pPm8X16PXcebWDTp+ioNR5BDTYcH5Wp/BCgPb3mRacw21Lk4Axyy2MF4IQxRYrhaNv8BmNG7R4URrnFlEKSahq4fRSRJ/qoHkEEk9IgsvwYKghZh9rEmFU3pnwZWMqdaeTBrngQ9MVONVph4v2TPTHgP6LIMoa5CvbJh6lhVpPsqvU7qJ2M297t0VxfK0vxm/YPMtyz0H4lAMqauzwkBnzLoAbB0SrCPTfYEz87EmA9myPbe4Iqoqf76Twk3UnbZN6vvmseu9dwHtSdOEpixNvZVzkib6snO/13+wlzz0Zl1RStNf0PV3fbEKcKl5IN8DJULydAJbLWWjrzclKAZJxsXt9nCC6S4tQprSkb5k6IwA+1YsBQ4FAebNDAgT1obR6lahVbY2GIt513jQ+y1cLf1FS/9kk3TmHTa+wR9el0aWWgawhSrcii+1bOe299z7IohxatKNFyMFrV20OJS47n6/HyOKQV1rJpcaz/j/7mGqEPL+bXLTAsgoqvYrfSUU9e1Kaxs6feNGCCkiHyCxeSlSpNEZgzj/AideKbkrpClWPjFw78sG83h6sRHGYhL9wMV4mZBDIdTvSxuaep8FO+G+vnVLJnG3L2WL+25/RgoMptMONulmt9OrcSdzbiuaxsVdNQ95UiwXVNH9hpsf3GyNYEDbmgxmg4cO07O6SMnqh0chtZGNd/1mTCt7Xarf6I14dfjERpjXnTroL7JzP9qhhH+a7Tx4ujBEdpJU5aZefxCzAp7HdhadiLY+daqgeqiwys9iVsyCDdeSL76pzUr+8HHcbndQFUM2to3ytqHVQFsc04hQ76SId2iGtvRG7uRexwKB0IIg85iR7rwOaYohjcYX3d8NZnJKlxB3vjKPWOztTuIn1w1O/lpZGr924fxk5auBvU9r4RCgJcGOozeWItrGKj/Yzbw5/K+MDXRkPVHunGqXuv9kAUhYi4KDvpgZQpG43K9A5rEV6XF+O05trKMWTjSYUxITYIZgD/5nCX2PW0G/p3Owv80a5Cv/Rk/n7gHHIFVFrbx0nHG/QJHxc+jgbbtYgOs9mOdQevbIR4xQ/r+3HKEDiZVwO+fR8dB2oD6dGaGzFD1QPyhG47KJZtHCr7GK5tKGGjgTaAN4H13nVOjPLv+4WY/j3+jTYaFo+LVb6cIfZxsh2lzIQX6VsdeVnT6eZut94h2KEiDEuTEPpaem1ZS0PZpZW3vYqPLWoPQry20LXdaaM2tWrWDzzWLF2JMK+B1pLPIrm1w9aDFZQm2gj9rSy3niIgm2Hm7qfeLOwHKsXXDN9lk0c7SW2lEpihYzBHMZLI2Qkb8RFe1rVzdY6zO/AW2bRf9SxuP/c1iqxpzyAChQoO1lobMEC5vOURK3H/wF5BeXDHbYwoyyFCnzzRtiDOgRqco2yFjKF+1IoPjQ/Q5aIS8KY8RCJwuLj6unnWXYZ3FENyEjs4/ZMPAws88Mc0V6cASqHBA5F6ECtaAhRnUlwX8WHMpynBKmcSNGSPRUt4qAk/gvv9T7ApzkD4n9nA/hZqOHAcQKIfg6qZwnq7y4vrD5DI+Gkh+OMWHUNdyc2ohyktJFaVjhT+zABLii7/Xb5bEe+rCFzsEtutWDWoGsvB3apGSOy7IxUwT1GyLN/5A1CeAgx6OH+xzHTEjB+g4Orstc2qWqTntfh3otzgQNvBhU8XRlJTqB45IZrOUpOHwJ48wRVybx3ces31xuqstgy20F61vZtXwq3otWhpOwEOrXsBpfyd3bvOOIcFCD60vdMFhoPXYltOmX80ivmuOYdhS4jCS9C36Mlxsjlsoc6Oy3zJRPJmGaSRINrmTJV4R/YSym3EUJJVd+tsp5aVMv0fcDSDgGeapnjg8OnzzualvOtMdWkOT8HBFZMuMNLJ3+J1tx6EFQQctDa3AiystT8526rmP1QfWb+JgJrWXnxeNLF+GR+XgFLuMyvqH2vkjBJLI8ZccYebTYmgZy8C+s3pvI2kW1FA80zm6fXSN8EYIPSsu50VP5c9Km0+dtbIJxRFLXJ/pyhunlrkQZ0XSKM4XpSXvbT7xWXeTL9WANGrHXpxy5VaPgvQvd3sXidXB6EfCOE2W70ydfHLRzBYSAvNyFhbogVeU/3lH1VQciGDjChuStAb0nQdavkJcZzMeuPlYTOazX2ybooKunHm6ORRWvzT0NzhIX4CPzFU9zV1eRsAOZv5zRJE6CNa0lWErIbrrjpVZIxlddFaqgwQ4N4qHW4vWFP4Y43tuqAWvReSxU70nGWou/DIti3aKMEfNmhlO5Kf04wYWU6rAPBMSFv5uubC7OTRQhYuPgogWEKGQED6lvO/ehz7xgK226uwDHoBcmHLEXkSYrFTWwYnbgczsQlNDp/QlPpPbOYLi9mgF3JPpr7tj+ACawhaD+AcGlTI0DmM8rwrO92DLynpF+7qoH0THfreaUjAwvQXgCZCcIb9/Ziivbf5IW5Py/RQ6Oa2zw7ln9PoRliK8556zX0BJtPYSTxmxpQEqHitBsCYii/bJr/KvuKVG+/gQorI7U5xliYr7g3KFyMvNG2p07e1gTtW2Ivh9MJYd3ldKsrKaU1/wa8FXk0W20lClxNktGsccWQSngbLswYD7ZuOGQ2nW4r9gsMqEGITR4PdExqgUR7cj39sR+faFl5LKO1EmaxgWXKXesGXozOJLYQeoDBxDCoGboIC4n97xBpemlssLHwq4cIH5GiFnjChK+cmX0VDWpS7J/77rqR8Kn4jx+jOJ62bXuc5voW7CWWaJHXnku2kCjBzu06xCuFJxmYqZ3PviauCOQ9r9ioAkf1GQGJsZxX9GQEtTI54t2YWxguLvNkakuMOrEHPMZ2+12s9kRIQ4KvOI/ycIGlG1iAkdbESaK1CiLZjFRF9ABjZjog4re2z8VazSFnycw/zkuFji0On1wRLicP+wX6EueA1H5scuGk8BpusI1Riz0MjRl0GzCq5Y4mxKYDiigtoz9mvr4D2NARqgTfukGk4+/Sh2J6mUGwKwK6HIFpwRKk53IpHDfEmwmOw/gIo7K62NR/6S4Z+joJtKhgIfiHmmY1kI9RT79H3035enwfZTx6bz2jmjJRBFGehnhKzyP7JAIES0ioZj/3rCOyToT6HBcoAKVwKu4WYq1y9mnnZDxe0qq98GgG+bq1ppJ5+P4a5ePNuw4hCkzNNBDAmRMXFfycsNOu1bggHziiJNK4FmvQNjAUhGYQ91MBQCUoxNP/q2UZWOt9XG+EDimKqGrc8a0iU7nzMFa5Zn3DJP/ugp3SLdFvKsYrju4AfS+QyJvJ67/eVELACLrMnDPE/JuF+MIyOcGjbx3l0N66znhsyXmcpEKtU6O2Frf3mGdUwB0mWMPJOw8gCu+2E6C341GfjR9DHoN0o3T6Rm8Lsj7XZDY2BS4Spa+oMCrryDmfp6P0UxtKZOSucepg6CXa1XExLv9oe8cczS9rUrSKmRtQ+y9GFimpVNt4CWW4LLd3tRRc4ddonGGi4I9dL3mU+DF6aTjkz+ulD+O1xNPfGYNbYFAXUmFd3UpvtCCR35bnLm9Ud6hhqurtgNSPxcKE4VYZAnMIr+mhEMtwmez0OLEGxVHLMc5I/EadIjRNegO2F7KOuCDusGby/ZUtJpNy6L3Jn2DWLZqcCvhKpNiGfkHSBBhAzgX8txgCxSQrYscnaixdt3UWeQTrtwE1zPiUQPnmUmbjHlb8i4UJIz30zk1FJsKrCLFAVTt8vCH/oGeaDCAxCtFUFfyfA/FlBNdtTTNWXeam+svpWEw2x4KTaFUd863DDelVsXcks+bYA2LCUueOmaIo7+IfyUP6EN5EPn9eVe5bH9H9cn4AX7AeT5FZmTtBbwJ7vnSRGdQ4z9LbebqC9PL3EIpYYPXbiRoPo9R5aiV9mO9yGfkndnmoHOjsIbdEmGkJOdAEh+CYm0E8zEtQGcyrJyvlz4PRtsrKCfGw8/bOddNOc/EWUUwlSJbyqTD1H9kvYeEHG3rujDY3eh+BlOvd2Zs+sOCNtM1264twv/BeK6+F0Jonc6V1zsWG4tRjIfY8ZvWPirCL8eJBh6ej8kbOPmMCjFUV9j84NNpgD1mpmZ9OgmXwcDSQGrGmDl8Je6GBuvXi6qhCLJ4LoBkabBh3oW61Av1G0oJJyRkk66WANHP7FkKCAsLDCJ0oOCwzpCnVkDAOCfbNB7YlexUd9w7YIUOnnMSP4fCkNEMQ4FKow0m4rktzhKraLDon8gcDAvcahvPH6dG8AnKDXP6B/nU4FXuxIHOo1NNyxTaTdZWNzNfUpgXmda/ajyOMimUDZJd/sjgyPMua/0i2s3Pb+eLIzsum2xN3sljYt+akdXrVdV47dR3fBv2E7LeYw/gHN2BubJbM5HpX7mTz4LfQDb+1Fmu7wYSVTOliLNnSXdXKEr71UEvVjiqQIL8KHSwuDA1umt1kQbCtaoMuVoBIvrtnEfBejW8kdjQZDK2VAhPOMoFYiS4BKou1u+r7+GsVNL9OydrMFTFUwK2owXXYD1q3pBuzpcyOifq2Wrjhm7NZaq7fdnLH9x1QUdXtkXUT6vnho0dkL4PIXK2H7k4QamDpYGj5VgAlhG/E0tUMuZgFjSg4HimsHmN6Dw0xlZly/tKREXD5B0v1wa2PsQxRMWiGbCO/zTrwvlSsehVnqlyFQPn/jSdkUJucppJgblg24OX+Z+uz1ypoY9XGtmAEWv0PuT+QbLO9+A4pw512GVMz9sTI64eXi8txa+ONZ/j9RMZ1OIGhgamh3LHTuXDtDEl302y+b/6r9dr7JisOoYafbFyRy2yVrGmRWQmxhw/XcHWttnUcVw7PjUIgn8ECYNh8ursncJhpSGAvcX06yHP2iKFCUL7TUs31Kd1MEdScb5z+c49R82GXQ9uuL42srfMWkd8MrIrqTmvuJu+n5MrbZKuti79IKeIycDMSPzR4DVUTovWbIw++EbZ7J9V4CI0RqnrjNr3YP0u7kVEjs/fsOgc4jlPP4H3CB8BaUob6EhypvpEulK7Eq8f+LWNvinyseJHZpzeNiFo32im6A630HKg8AlcBgJW0kIvvvjqOQpB/6eMdYEHnDSr0gC3KJQQ5ut1m7g7Om7luYUP/zmFnPC96CP0G0bu6ZE5CzfLkkyvTYPaMMRqaHuli3+e6C2j4txS+db3NwRfuN6dOcQuGOxXLXzUrZxrxpyetrAQVdW5FMStpYBfx2vlO84CjvCytQzvP1e54TgHnAw89vAWcJ2Jds3amHTw5oSMMvMVuBV7bYBWKryBvgajEtaQq9dU3l5OH8WCDgDxWQfZkshV5XJlqrajgYu3wnqMPJMfLrHPGMPS1x7zkLjaECcurwuQB04TtAT9dzjN+inshdBcUJK9rqJBWPr6tVLjsd71K0UUMo3HP83KVxKU9Lrt9j3uRjRE+L1LAaAFr8H6ddfIK8wLqp/siwi3SIAECW4Mni3Y6tkqbLMjwon17CGoCo+1kVPdtA1EAPX05Hl/bX/JBvAFE95po50DxjzdVfEzH5Ko/8wqQkoOpRWsC3e++5mPfYcwbJzSq9NgKxpEGJb2sodSM2ksJgrfTwRZV3KxGr+d3nLinA1XP7gwCtYsirO8snPEyQyqXcJ6QuMPOJqrM+1vLjjkEDT2ye3hQkdxfT+lIKrk1EkcYSAdENJ87g1q74Pq7K95tW0WQwPRiV7eDwFcN3zSjroLzcPYiu0Vr9n2fz+F93VaXmnTcJOcswQqGGcOPBzdwuJmixeR+kAmYTxUNLwfdvEtsZX5BjW9JJZ6sdUClk23/EvoS4HBnQXrjzXDUbxIV8hv/jJVDSjl5gLtPeT7nFitfnzd+jJCVfKY+8rVYt/k6IPcyxqpDCCj2nxmbq07vKfRDQV92qhvyR37Bj8OFHIDR4x3ji+3EWCX9wSv0aXmfmdQs+kjMc/C0+iOLpTTZ8bVJT2QK94Tzljjqxvc0TUAt1iqsDc/8ATUjKSra5USaVwQflfxaGwlfexvnAPgcdQEU1dBTFj36yC4mS6ZULxBwevklAnjbJWmZGtb+Xi0NKs0eRNfTDk/eV3QQmjuC3NJK8bu1NpG3BJ/RJzK85N5R8xZSijbAPEGmqRsfD6JOwXaDHJfZKIBM6vgd3oKqK58b1lisGoS5pAiQ7AGT06BZyHpooFpOJSbIG/skgFvFKKckAMP0F5sU/Ed42aqFZ0+fKV7vQ54gj01O2LygKRJBJQQ29UvHQz32eb7HzpWXppdlCXP5W93sKbFamlxWuypNHDUInAvEzK+nbBcTWrR1PmWy921Ix51FchlooLIfIM4cAi3pdUSI8Jl1eSr36qKyM3VVKK71Sf6yLLILTknBpkBpN/3gTjooJg7f0FdICgToQzXaWXuPwbqs6He445P5dNCoDNzrRUByiqf3cJKnlIUjKR5XCG6IAwwD9Ob5r+6TxH7a0d5gJTJUBGRvuM0JNIzNk+5umozZzxh+qIArcmaZn6vsDa0OrR4dYMMDd2slucjUFvkU2wWXR/ywol2ytvnOFslxrxtj88ff5GOLmBdG+twbFp1faqtJJE2mops0uPgHwuJMMgY7iO+PFPkMfglNyC1WMT9xgjrB4Xo8SW4kL77vCuvNh9KJJZV/lfv5yfUinEQBYGsmFSEMyvZzRQ4B4MtD2W5jVwqIQy/rI/cIZVCAg/2pTdNA2/t5kGNS6YnevjiN//XZbmouM6DATrB92zZfUhFXz4tJ0iqhgg01rGybcQg9iAabqgP1wmkjH0mdjPB7E+5EY8OWWwVFSLB6+EfSXMN6ap2fRfb85kB7cOHyHdimJZ1Op0uOCXGU6zNhrkssCs4C+5t8uj0B8Rhk794evofkIsjhiEz3wM23EFZ3NhU7JRGLMllmtvrK9abdJEQU2Y69Ji4x25zAweCVK+n+QLhcznnk1wHywNCzR56hij4IFIJ3E6zs5rfkBrLVsNbUjCYYY4wOBER3ldSi44ciuogNKD5pcCtizm8GqifLPphmhj2JjNp5YhaCJADH9eWjuu91Pb8uLeM0frtE6VyQoH86W7ZhT/HQ1+g0LzA8Qd7hSFq4XvRRef5mpKW6gztn+EIXKHEF4xKaQiLV8RDOyflpgqtNBhap3IpnqyUGhmBEaHO2kyMVdPVNPnR5+8na5GvQ4yjnlLK+p3V0ZW5hn75x43jeYyWPEzVq4HkhHz4a2fljMfHZYdEFjPzQ9CSP3evgOa/uJ2xg9E14tC8rJ2jDRQqCPlr16GPDhjiXK9qXMrr+vcEMdt0LQss3a7cec6UBJr3ks3Nx8xVbnTe40siEJPfTUna5JFGiaTxxJh6Qa8JRGHBFMA2ChHz1xmcYaKEvzK8z2+LK59uPbeCPvq4RVjyIPjrqOMjFAY901xeMR/qZVMGemMhatpcrsMFnbfSdtpRRmQMxfv7itmhJ9KyP5RPXElLOupWYbnquhSLIjznNNrnSkwxZUZzfIAKeovsFLTCvLJLPLNpNtcQ1hlqLykY84q1WAYlurcqWAKx/eq8pGPxjii5Q2++x/XsXVjihKXjbhr6GF+uEL78vFmoas2q/z7RVtDj3dC415Mgp2cWlDLb2VtZVmGuUp2RVkjCjfbLl8Zm8jgEBuaG5FYq9R86seYr13/CkJTbBgby/EKUdz+o2eLJfpQRLlfXqf5omuONG5X8bbIUIWLF7Awre5ikh9Rz+4W3bRCBYuDgmtRMGw1posQWJqRtSselIiB4kixJFKEbju9az5vYTO4oieNJKdkLJ4FPr981GZR8KY5xxKNVBFTEgwDVYGDFb+IGBrDgIValJVH6l2wibchZmxU/BXXL8+8M2C5lMVXW5Emw4/TaJ8NFdhP/UA2dx6qfNzJNC8PdSRMXHMtx5ewroRlQ+AfObe1QYhr0plylarLCuDEYL2mDHCnNs2y6W/YJlhSO9QRFaFph7VQ+NlxBEX2NYviQCAmQO6gH5AHOkDRaeYFFWTZrmKt7yR0/bsyo4JoAM11OODHjR5349Jblgl/0oO11PVGt9HNjqlex2EVn0bazQShYfp0vdgzumYZG8LaYu2CfJEUQiqy9q54C3DBRu/hMk2/Z+vdphlsxGkb9vvH/pwXGRzpSyQK8v9XsI/fQCubvsy73bxkOB1UrSEP/tWDfzNq19tiqBUKaMHTHF27bG0yA5AFl8nRR0ai2cWdyQvbqlMk4uOqDStSSx+TJMsHNpn7aZfh6jpi1mulB+kU83xUvi9/NSyT1HfhVWpOmzjG74avWE3uuwFcyB28VzsXxb7DuRvysJb2PGNtCqrsWVZkNLACnoakKufCaTG9dOJ7JeUhLy/j0MZ7IC2NxXoMu0rxgPWjzwdj8eKS3al/btQ/esnHtuClQS8O3ZK6du++pYcZTZIW06xY4kQaRzDs45+bQinJ0S2yal42sWx364QGns2xXuIHpz3/BKhrL8QQQ31JFsytDTA7RjQr4XJQSEjS62LbOtxWTlWKP6SVNLIlNjOboip1DHz/c746HQvBCHEwEV66H8fRE0jBTEZq5SdIjj5EBnp286azb5rTGie0mqtGsMyOkPUaiG94KFUDFSpb3oxEwCh8s9eJ7ksiBfmGFiL2O8gYfqKTNIiF69L+zkm4pXXEl/8IYBORNKEI5eUh0+m0l3ch0sQnqc5Fs8uTNlIQAiAzh7n5VOTMEOehjIqy5VhdgA+y5yp6xoh234vuVk0UrnyN1YHBWSnSpErQKwaVN2CfZ64787S1DGm7yVWqqpmB22UEaH7s8nL95Pl+0sl99TLLfriIvjWsjRmSiD6N7acuILN7hqhytpUd9UOR3teOqUrZasGqXe61Vxe1brv75yJczzHzQfHGiUKwK20S6YQYhMoLGrvJxp8FOtAysgi3IteA4/Zzx0qkhbDj/T6H27AJdshXUn3ow9hPR2GY0scRpN26ukuauvNvV+v355sxUIkJtAa1SAz47TgzDEIehy6ll1SZS2zEl0e15S1b3Ctw7t6JrCz/Klk+1fnpm1RMlmhrVCN55US3gGTO1WkwXn9f9gXyfvV2ij+Q2hsgy1WSHV9dRj7yIFFhKyysWdXSOErEREEmehkEFyWgB6M0dkKhnXdip7jPemCe8gdjV9XCcRg0O0CeeBlhc2C4HXv0IhthkqlJ+XdKWxileXOCgPYrAAlAtQEElagojmSzvAEsXgb0/pHWRZtUk581rL0xmtT/WelJltMSjo/oqXDVTA6IjmjL+mo/wQeiJknCTRFgw6MqzV7yykCEu889+ZDk9vQLPnCijy6skswKlQKMktE/aQ4uSiaf6j5WN2WTTvmvuzEDc2xYp/rwSTNaJshf2SXgXj8QQKpH2EqDoAAo7zSIH5fXXu8aKebw0JFiA+XK5TA2FanYK2PUNnsREIHqA/YDV9xZCHNVz8hayRzdM+QPyyvD0LlOvzW0ZwhI7qYigJVmQu4sjT/5sA2Ah8g1TJMNqvo3aln2+qfqmocupvMKzonEIbuXPKh3PDpGnHqg2cbejw1b3wVTgHn0M7k6USqYXyC5vY6T6/xv+Dqg8Cw3VSby5jiD7P+2eLvvMOT9Os8evboViVfcI28S4FFli1ERp0iwxCF1O20WMST4OdAXO6DQ2udedddc0XgpqVgcwH6SItrMVfJeoATffidQYyfs04R9l0NNwO3pB2s4N537YvNlvBPJDQaqXPnyQbTLFYisg9+bqUz6h+jEVNF12rxeEoP8UuQyEsoM2Wz7E0Ecwj4ZJn+gPzwdGVdCYeLT9LwNoXOJ61eolXGxoGbEefpdd6OAMUOJ5zC420tIkXk9dqVHDMMJNkYAxELGwk41XqdfF/2h42hKqyKau34e/DHtqzRuuIIEuMobyGjsWNxcxbElHb2sScTScZiDB2FAwkSfbvYhNTzq/d6vvG+1ijEYTpdV9r+mmPyrmCr/F4Oi05gH7x6/mHDZfJq2FdF84uFIdfYDlV5VOvM6s1PzAb05B6IuzB46VooahJ0BMy4e0gsKSGOAvpKIHNpCf3kLdIfy9ahU1Uf5hWKxiEXPBBuyYJH3DLfJnQsRb0oEcdviY85iPRWvM0be5G/6Hrkyf2e0FjlQIR0kPsK2MvDO7sN4PDqZjZ+3mqhc7m3Pgj/CozBc6pT6abK4pGbGUB+b3ZQXyFamIFh8BYWdCjmMzM3kuUmIxOunttK05hEJ5jTo7ws9Gz+C7RULKrlZoVz0Sd/pop3N41RDTY/d08qWRkAQwfB3OoRG8K6qVu9YZc3liVHnsPWId8iQnYrW7Ld5/6IicDOyUM+8ynWgpPjPAfNon8TYQc8iq759xEaY4DTYQyzLTDWs6KA4c2nQWmrlw62+m5dgJtiygrHeWVCRQghWJbEGm2GaVosw0xkFlMPQCqXOePLndzw4TcObNTiH0M6IjVOXb26R8tqCp4QtVEd5amptI5cXuo5kRtueuiZoLZA/HZp0kn9VDgRsXJM68c7+8zNXajGAaqWaw5siEbSjD0l2pVZxUYKDUyRLTVmytGWZhaZrK6jTBAzMB/CSozPR544ZQH+7/yPYgulhpfC312wP7HOC9PXzc2lW5FX89aL+RA5HJGXSrNPcebwTaMr9lFHQiwqAj7EB14JYbo8bt3fUCjLf416Gu6PhLx39u5Hco/lcs9TigBqP9fE6VlIog68DErUDbSZytlIHQLhubhmojHjHio8rFY+OwtZSnam93JePyPUngmOVvZyWgf9H7p0jYiBBGM2k71jeqMK/3rmJUiW01XdnLflHCMldRQnQT9/DviEnwNhXL95uiBvTurpZhHSwsMzhKn5jYjIczu3wHGnfPtGwcaN84umvuY1FgxbqTW/YiMRGCeexvdSt+bvnx4YAWVMYeSPYJZxPiwRSmLCADyTrpofpgPmMfZ+qntaprzhr2dHb7YDDVnQlpatZ4tG77mpd3LvXXNRjrMH3pF5ILBI3+nzrVnCpQkshD8ZrR91N6eOdBom6bNuoiVVJ7/PpYbkFp7+KVl6OOl/XNbw+E784kp4jK0/wZo0sSU4JgswqGmGK3thlZvheH7E7RcMLd9IEHjDpkfwx2ZJWFbeCy6pJSsvpUWEv8ugRyg+e0KHuM57ujMqZbh0vwTNNLjOM6tfh75NNK2CiTUXSaltY6L+KJCixJ65UmEpXIFbuBCvZE02r6cwkCYJMROT5W3Dvr8Ysl7N8mti8GjHypmJW+SOMHnHobM1tq3f5bNOGsJlV5edGkjJttpQSnASCCqcTz68kzfyfZWK6jUAoz9Jk71snOZO3oLQDfULE/CSRqcOhJYoYyudbAfUr5Jpg/zqpwjsKkUiZq/87omjDMAoZ+mU+NiHLR6GiuEdcm1G+NWVH3WkeUTyYGsQoVFw8svy74NbRucfb9RFFrzrZPwPjvq3ccrojfT8GQwaTzYjQTT1LShmHlnWT9BcmQT6J/LCtXjUUvQ/2BOUEZVsB5595MH7ljS8YGrlKpivr0GIXNJJdPsVX5/7KFx6zANaRayBQzqvzdj62zH7RX3Vcmj8EY8K6qVcv8snBhzb4K1mAQkMes6j3oC6/yV9iM7JKq84xMtRHBce/7hAfK90FUCSmXqpqaY62Zi52jTwbUUfQVp7SVAo/z/xIGSdfGA76eMLZVl8zC4bx3aCPOrq38SQBzAnCPbDft2Zwbl2/EyBFeywwMhss+edoeaAmFLBQNUFayYdDdZ7AFdOFKDihuNpGWqzy4L2qjBXAEAUWAE0estOmCTxTzkQt6TF0LjqoxhCAuuSmzkaGWRw0MS+gpcUAHzqbH55K/dfH0+eOOegiDs7iUc4ROcuHqQTuXLwHO3KTo3wB5t6lM+qPA0Hz5CCYw44iTXfM11KXdi04MLqSWZo97/C9lsCKYwC/rfErXQHqcJCPglQJy789LQbSroX4VbOp2rFl6T1X4vJ9pA3aFyU1EMwXNYM1hnSzx0B2pzYPVNsVJcoAFJSEFrMAl2g//RQOMmlQkwg1CfUYM+MkzZ3RLSB9Ou6tfcVf5YKUaWvfAwWldDnhmcYwdhLRNaECaSg2Oj4Bw6MeUynFU/Aup67uDFkJoDJLylb62XFFFunAE3JFRg1s++l2X3oqbs+tDo9JWnJN64zhYe+coUwVEXHY4LGiq0P9PlNpDkpufBAz+NENdJMpaoLJ3SuWNgMeLNbJbg+Oojut4MzmbU8GntxKBtWVxlqTZCap5EWERE5DKRfftj5XTu2b/5yGKLghh1LlYaGStt2FDECKu77Zyo2aW5qt7A8IyBXdbg1QQxle0cR97B41fj5cKQDNgxikcKCYUUJYCLJtFYO4WHt89+rG97pOZNfvUGKgYnQNWC/1S2fA+e4C+uJqKMaNySYWrIlYKNsuPi5VXQX/ON7X1kBjr9HWxou5Xf3ab2D4jMeizS7/UDo8fpzWvedd2hUZIXtXLvtakJcOtwhWWD5TFjIdKZYBnQLZt8Ai+5bIfAPRJLSbW68Kik5XpthfyHcPS2r9B3yvMxEi7ewr87BwNp97fN94+7j7CBSAOnE7TY29QLr3rIhi3RErzOaHf2UYpBj0VGk3z2GweMPwyOC9hzbmIoAqg9r2enS2oplLVCK1WS2q8kQ8uAudau+IesF763ymvghLzL2UPaYAR1ip3y1WmAydyyoYf7+iziLaoDptGzDpGSHIKoHiU42f6/sfNkU8nvUY9o3BjSjrjjokAnUtEqIuKkaddVOis4fMy+V2SkivRCbuUn5BBE4BYuC/gFKfT35PWukVfYXBkuO2XgyFAFhN3JRIVakkqIlu0QFPe4KQ9ibpOmGZ4FVZ4N9Sd5qt+bM8KBHcSWMYN4ehqW2lIX2iwWkNoLGldrrReDTm00Afj8qt7i+shjBsutdlm8JJSIa8vPm+P0Nv1PyRcbh5uO/ZiYiAxQ/Mwp3qteKiI8TihBXJzfyXAZ1Wm4HLFHa4kukvDfgypq2b0743mxEs/XKqbZ7FPkvuzXU4sXaM6Hmmb9+iNNqj0ovfhi6VVyCeSn9xoIDePizI2VP/dvqu8DoBTHZgLrGAGWa4aOCsp/e09ddt+Nu2qwiZ1mzlguxWeDwW57Zr7oafEq2B+VoBNHwBrUisHCktmip6dIDMFhS7SdvgrQ8c8sywGHKClgYekdSL5rVQ6yHtJTewv7oY7GPl39WTNapTXmiCsA5V+96DLE1d9aJ+RqihHIS285itLGaRP5a13JCXNDG95ybRl4YrKyHHlOFFa9HKHQaK5LAkodG8axl98gJHKHOhig4fLDOgApE19TEsbdN+MF5o+PnsEBYyNgJEp5GiZpg5rDXZ0elL6YK2SgLyk/HHHsqYWAr2wCXBqMTBfvF02MNsMvZR4h0mbdGpilmtiKiN5mI4WGLrg2+A3vW5CKYaRYxtRdWB6C00Bl9YWdEkETDj6kN0ZInqZ1SUQDk4ekIuN6Ht0LtnrgilBgFLEMqqYe2edfLwTwgk+q8lfAN7Ee3YVcGiNWfrnrVHq/us1+gs1n4tcUIwDcXbv7RKbT4WrqbLWKJP1EN8KwRefvh76Q3dW726K65+9pBYPIrGwLskNCDB3Qm3vuV/fNauBUi18RkKDTxiOlJlMm3L56bhxkfXwhyoNeEmKtTL7PV/sD45fFfAZ7EdMvesD/mPEWeGuafVQUDVBpgIHy2NYf3ipALri/UEK13fFxfoTbMSi7yVzV143PxMZ2GMdDIv1tqL/IeoPk9+JwdJhPDbq7H3KMXnNa+52Il4ktK3D5rD++6EIj+O3LwRv6epdbg1ObG3m5sd9EVfqrmAfGFUaGVkaM1NeuX9TYhjWSY6fJNQ2XoIZwX/h0LkP0V/lUPFxwJHxFlkGtxG2ACY51gg9CsTUaykXAXXqBu39hGMQkxdUsRbyDIC9WpBiMpA0O/WL+8P7ggZMKhOCFvyUsFr/gh+RwHeeqQC+ZVvISrF9QO869DMHpGgd9AN3n3i0EO5BN5LM2/H+pjWFism6oZVBkt4OFgiUnEIws/NNqaMSbuB97NX++M7rIISL+IBMNN6nGyAQk6uep3MeSsWQC/8mtLIMY0BSI465qdrzbnlGK1SosobXaCJHrXjcoOkg9lUAaZwAd0gazWM1Q5Mx+qSc36i0/LKEoWI/vLEsauQ9tusE/NREa7v/2AiLES6NspwJn9XK1XnW+eKYknOA11ajUcmcZLOJg4T/cG9i2KGzlfhJLAsJ2oM2psKb7ZkY8z8xqokMIrDFNNgWOOhC2d+X3BdMO8eothxXF/o0WURabOrVyR/bLvq7jUSy/ondnxntA/WrAauAnEc0LI3+LlVO1Auuub5fLbn+btYLNkZF4GcitPF5iKXNFEruhK69yLRw9jMcGJqGcb0U7YXT3tJXLwzDefMMJ58gXXKY1t7HBNoommdxh7oJ6VjLjxg1cyeegLxAYqqu+IMjc5NNW4688anAxlBl/dQwmYggsfp85n6ZTd/i+SHyoeB4TqEkJRARrqA1ufeoB/tKtI3mRtGqGn/p7Gszlo9l1Lvvcp8HGCc3JP6jEVorwa0EgV8hb6ZFStcV5ZsKv5mF2JohCDhp2oqeRO+1eAcr4uwS9vYSpCRvcIfdBnyes1Db5gmzqam8dnkv9jaSgh1xudXHQ7G55nRcIs3b7DSAt+kbNiR5/IUK/I5n9Shp+VoF6UXOCguMSq65cOI0QCUowKey3pvTIsHNZZsbeEzY2VjCyzVIao1g4fIgeZ3X4j50XQ5xAKTp81msLpPuJwzKreAaygH6zp+T/sfHlw2XFSFvyRQBfX3ArdbKGL088Ral0tOI0Y656l50n5efZo4FyVMTqYD62yXP5lGf0fHqLZHZkdDGLMjd4jO33xHcoP8OFplfdL1t0nUbALuTVsv+ggr9Q+rpj7ID8LzGk7gLLm+7LOe00HvZMlxuPUVSzRXIWPMfcPLM+5SLmReuqioNzZXHZuTjRNb9UIwVZLdnr83znP5fZ20FOqGNV/bGlzdhj3NvtpimAdjQXy3eDBMG0ZYMiB6zAHWFevVXmmp/Z8oEEJUDOe21Bez7WHvQ4I3zP08kG/kUeT5xQTFSlqiOFq2Q/hYU7X3Hw1WBtj8i5j1Ynud128DQbYu99eoKtQe37iPXy/4SbeOF8xdX9CxHg3OqUgO08oheyR4WWdS3eVrfFtQMnERVrvQ3WTC65x7rbb4qK3GXmrLks2xqDo4+TDMIAk6C7ZY2oQYd7lHNxCljHYPJVHIhtkHylpwQO4aNY1al8yC7p6eQZBW41IzzCBD/F5l1nvBO8W2b3OGheqbJduNjR8LDG/7vaT4DvAAoE31QW0lQ1xKMTnBYoce1Xk70dYkL5GTdsLyO4te6rXG1LDg/tMwIcTt0kA1ZGgRUUzbVXOUi6wlfPk1JjoIRZisdL/WDDeQt4WVV4NKS4DTreSkk/ZOzUrIBodUpqNoGlh4Ou6pWOFYML1oss/Z/dhwpTgzezu/gcc5dAEL4bJlX/LptSElpnkuX/lfHae53A/rMXzQpj7URnRdgYqfTnRgEpWy7NDjqc0k3g7oeH6xfVZV3WJ4yKLERVis0JW0SRKRGXg+2vxeVEQ3CqGajDHSpbAjL1fKhm8ZKSL7D4h6i1toh8NRwiqqADgBcb73zn6Aod1eRnCZ3nFiSlb13qcPiB5jUVC/ZFzZmGwr8xPbD3WvvKmXO7c541S3ZTHl4VvWldaOQaN8Ek4ep4PSX7oD4IbJ0eS5aPa0xez+s52nJGCkKXmV87SclNWPtpki8bd/NVkNxjGknBg5D4uuY7ZtIwuB6RBspLhUAwuJclcGP/Czm48cwcp73G2zWbCb0xjq7QQKf9EQVtNQy1SDxSMUc0ZyEvDSTmS6U3htox9ccsRdhuQ+3pOQCZQ7+ozjYnRfWPFUkaObEQxn/VlvJ095xCZj6a3zcQbeMGt0CynX7Z9h7CYD60tavQzURJI09dgD3KieyXXfjSdZi+TCpxsqRjY0EyhPL1UmJIhP/NkDugzGPBPxOQwBNaospHcp2LR47/bJAjExvXOjLr6tkifngCB5qlE8pgPEPfYNBWVgmdbJMkulzaDsknkmFuqtS//HyzTgLYKihoxns5qGdGRWyUo3v9mn62JbOqiKuXx+fWrwLlXIucCzwQxEgMhSanO9FQ/MY7jXtTiRwKkrHgBQMCbWqLng/0psxwvOo6VDjKE03xvuCnEq4nnLc0wX5OaWEjX01W+TuucaClZCqS7b2ajPTKZlYriLTQSm0Hw55/irvFRGsxRkNTRwlMEYKb0T2FMrFYiSB6vbqnu+P1cg3WtJj+g1WQbzRfMZ+OQWeuf76wtPot4tuvGdw98Jjg0GW+o1YmY5GEn0wCO337bvEYwvoLv7d4PZcV062JsINOvWmPYauqNSaLZfBUSiAaDNRLHf7tzZ/HVjv8MwnLwOtscrRFq19GK/bTdhz52Tg8ulXJOmFj7EI4BbDSY/VhYCZWJZFu9HhHVj4hbgMVtrJLRjGixbx2BL89Ug2EJDTTbEfbNpHpdcP0Cra5UoJO1vCZ6iQZIvZUwFwgTYco/dyJ6W4W49L4rxGeNb4VdWAbXpsYNLqQECYMIOj5erRJcEv3VqteaVTpjLb2GeQ3Gjry3g5h5u1TaEB48ZmwoYd3a9ncp2BZc9+jLOpyyTjBzK2siDWRnzhmICbuX7yuGotEWAy//EoBUUxKOZ09WqwS/fLpX/zsGtvzt7nRsGBc9Na3sAbi5dNMlPT7je9/PuZU1SjCDxs3hjjEKlGptZc6lO1r4w+K7wS4r/hKSM5WbuuGhzJ7gTO+46naRUaRRilGUuWHCc4/pHxFnW0jhTwvtJzTGYJ7bsFuRFfSCwj4k0vsRAJwogvaw/p6/hkxOSE7nIY82yFTlpViYW+fPnlwh1R5NTujgi8gYDsadPAV7N7TRnFCz8b9HAgBbd+rasJkVfIWQONxEftHb0zb/2DD9pBbTwpvPMskWYSd/tz2CerNyG2wqM5qR5PZ5zvctPAIC1fZ52PaahcMYAnr3tm9vLPVA2esTOg66FLyhuOV3TUeVdwP6p1kj8o6DH0AWp7P5rbOHYrGIfpnW8eQXi3wK2lK0FdKHGFzE+8OEKE0tEz7KZGWdJsqRzsiY+HQu9lUK2cZTCLGJgNDVHe6AqbP9GkMRx8EoZRiKtUFNsrL9q8Qpnrg2a7HmkQfCEe2bfKF27jn5EtO/pXIuZZmpK/LJ6b6EdjaaX6Ht+Hr3CBLz8VUOLOE17XPtMz8AkqrPbev/7NJECyWglhx6TLCQQ26l6PQkwvRPXhalb+W/fypb7iB3TgtYLmyf1qv1TnkVqG/+286KflXq2ElDNSl5/D/y70nPoWWToJZoSmyNTWwfHdJDSg9lmr1Giwfg7Ie3FD7/lTdpe31zLW2PcBtPuawiBvGYMGeXL1vMesXTGmeJB6iEmMwMv6hy7aol3JlH0Fr3n3jIpni2Zcr1dRYhtSq7PnJ/woxwtjZ10r3jerjZCh/u6ChhYYLc1muxo5a2RqZ8SCTFxQRKXIzo4QF10FqMq5gZl6tx+OWTJTBkDE1MzWOdj/aj96geqMKeWL1kGYjZ6xuxf2nIQ4yz9cFnVKgGAuLkEwAqX6ET2U91DmgjbusabloraFsM5ULFWiM0JHCbNztp9wo5328sG6HQ7aruKXgA2r2qlfvLKYSgSZjPewveI0aWWxAF0QKEAzCt3uHHGjPcJGVX/DRcvJposZ9/j2axEAHQOo1zg+nwntVQyOAbkVY8xpzDKnlItO0K7ryfOLaF5spU4G7GZn478VhrFPzEKm1M2kJWZUBFznuMfs03Z3ob03XBTmf6pGl211Nkw1nNqbyNEL171+EOpfn/8capnBs36yPBnFiFqiW872S5UsS2nFjmGWv5Ek4YKJWVKGPvuajk1oCHYdJbrRe5GOIbezmnu3FJXNCl7XejZPLUgDRtL5zp6YJcSFLXRZ4n9FnbsfH1AIkwpvyMR7Aw3Miyy/KY2/n/OHoH3rK9mtMctrSQGIcLeTJcV08YCbPTEJ836djBQBnYTVkQBEjB5KmqzixyHM6nR+mncx/JSOQ5uISV4TBcqrAWDxgbjWliwHuGwuUbRDiCsx7Qg94nJ0rn9oL5GgzqEOZOKkKhNG1UfsCx8mhTVxBvt6eIG8609bvsCT6anlMDB5UKpQBKYibdv1HZKONf3IP0f9fuPE/ZmQHCGqbCtkvVnxh/x/AsE7t03kdChopOXUp7ttjuxUgM06Ajhl2NZ9Gia79HZ/r+hCqnx3J+JZMOO5nTgdO55iYr/2fWgOgMgc1RdpminhHeJNnT+YrIJwJmSnj1manv40zTrJoJdvxgaUmqW6UwQlCDYlsEEU18zoEeKwfvA1MXaj+oXyge2XTLar7Nh7U+kPZqWf6rJ9js6cDKiSmfU7JSFfmVgNPnx/TYeyUPXrQbQhCSmbV0N4iClaq5aAB2iqSbsYp/G8PoyA7t+bTXgGODPhBO7Eppre2MbJpquhRVVPgttz9+FGe5LT7p79SgIkHWytgeCljeeXGSPiFE2LP4GRsyAipBICpbVSWJSKxJcO/hGG9vcyMllqW8A7K2AAZsuOofLclq+B62jrO+FGnVChevwsrXEXH5duNqg1DMQ16/WewusN2K8mumBb8Jm3OKKG+gSSwRymkWwtWcUXWHMD0WYgZhWjW5GzvR3LZSYnx4tA5Pb0G5Mfe8hhEcJI6SZxDxz1Oc3GYx5r28N82OUAGSPVc1sJPnFtAH9Sl0agWLN7A/N16FpZzX1p2au2E08N312U3jXxYIK3nPtLWeJN8u2IMN+saVVrk74EG7rG25aW6qWyjVZPE8jlFU8U/K2wuUBuJ+7jIe7vnpeVaYge7HxwZGYWYWpaLb/6iZ8caylmpai6R/3PIu5VCOfR85dxCh6n52LQ6ci2+RCY1EuWXPgJBq4K5s/YllWlzfjkWg0nMwQhNYZj3t7ZWPKP98U0bx6nOtjSEbCa5MPFHSkkHDVayNmGyjcXjF4RLwFY+gam5Y0m3Z+HexUsWXenyMih+rNP2VBy86t3qUUBEtu1aHFLqa/kHZMv6xYLrCL/XnP0RsUijEenQtBOpQB1zENl01YTsH6WaWIdKc0XXXFIxcjVE3CztTWu9OSEp68MXFlcBr1ofR57oUPJbx2cZJyyfgHeyHQjUrLfdKgNAJmuWljvYn7bLiILxWS103k869EG7ne5pRbJi0fEDTBmbnB61riajVfM3M0tUeNdQCK0AwnZS0wg2oSX/vGJz0pqtW4VYujxWdYTPIym22ib1N3DPEOzRpERdZstyLXEtdP6j3eu4IjOdFCQJ8lc91LalKsELsvEOkr6nk0787FGKorGOuA6XonpGsXvvb+aPYWmaCTmQ6iNj3o83bBG2rh2d0RSSUGs3cL23FlIJ1yWuL7reL7+fW+WUMNYMM0zcmTMA6OkSM17B4eEgmrrg9xRA9ezIDUNF5mVKI5EnC8s2SIFeyOX1sa2f9bKOm5pRvdShKEMWZhyhOGZnyuO9M710GRaOYDpNvmZhptmGPAqe56Q1WrUqmSX3iwXe7Io1txgU1etMHcXvoj+ObTKVdFudd/kKCg3lfOjoP8qJat9QKi0NQwtUcoQbZvD+zcQY/Rthdv4t56cvETUpJWGbjY0r2SceKjZYwoVfSAboJIQ4oQQ8pnUh9RikO6pbV7ZRsBiBENO4RHZ5n2YasKTVl9PuNHD/0hRemSssFXifzwIjRYTON8OCEOwr3M/zKVLEh75z8HLph/Nfj4JNPr2ikRIRpjRyFM2KnyhXShxmcgfLqSXYUU0a+zTZPIrn3a38zCrbOjU3FpWYjwb0vRPvJfxk3GD83BQ0BX7IZcZnJboIoe+cHt1guDLxzommV2pGAfCS/8Bx3Eiu2lMIbfI78rGdvqnZVyuCEq7HdoH2b0b0ISn3ZopclK8t3erPL6ByRwhReFiCjgtAEc11mSM5keX+evqylOKTYRs6ZstALeCw/YHnkCCA+KOuFpKHICfq6kKRemCGM+/8smGYTJDY/QnhbpJOeABD7YCQ922wmNaOHnC0pX4wqo4NTcxHqZZpRccX6KDRLU2xhiSwZ0aYg23HEh77HqbnMxAwD51HqTapZCN4eYGASHA1oQUMT15zNc5FWk+PIy1SRi4XOOkQv0eTYn4i6GZDgq9F+TS+8tp018X8wsmo37T0VEaxxpJi7wUXsP6iDBesRWyhovk4sQmnpuoQ9OH/ZAFdLtjifhRUSqjOmTVJoBcYREgjd2o0fQoWh0I7FB3u4vUSiNUMux9VcQ/Yxoh7d4OPmLfyZ3rx1xtJDtWaFAWdx0Rx+WuikgDXeavXnZrPIL/fr7LCI6DKuH9R4cqdjBJwgevGH9MRfn40mYGAeZb7YfWt8fU7VQTJS+jta7fr9sgngyBxZFX3W9O28PaeIxnug7TxCME3tpe/rQGNpiXYHfmOmiUlHbbf+bgPFYxzCjz7nHLrPd7BLfjjb8QTyMLHsfDv9cXj3C8XvnH9jWiu+I64VIsBZRALeVc0A7LiRvpCMw9TCzK9scIDd8nRFJy2rHOksKVHfBEg6hoY5XB4kSdMcSDdVH4c50uYj2HXxEVLv3kKiJaPdkW0Dp9BzG4FB1HB9PZOp44b1FlAnwDfbSqEMwfW/PntoVggPBgCSxbUQU27t6U1al1d90zVPJiDe3IP42xijv2ehsPTIQibn1+ntCtlGclfI5VcGBCiqwc2KH/QNJTyYnDylXlVnx4/7kU5MgHCMRBJoK/s/1PKylasz3DlbSXet85JbDDp2f8Q9kT/Gf6lN48lDKivuz49LpchqfVElNwXc9r4wWAEzUmaGdfebdoRMeAvPGHP84ExqT2+WpCPFwxiFGnfd+qSYwEdeUZKbsk4m2cv/9VpY8L7C/Vo2r0wQzQTZ0q8o2IUWZi2jDpbxdsmt+ovAw0SWytRyI1Ap6jSeNM/wKINYvILn14kxVbUquKDHxjkoUAkERsw+W4gEMVCaM6XxXK0IDMYFYnG1Da7s1bi/miJL7XhroZbWUzisFN8H8kICdxH7ugp6NPU86asMx5oEjaueu95tdSiSgY64XdIgEpsmnoFV9rkFFjmsoodR9K76XlUgCRPmwdEnJ9B0XygLfkMFlIofliLBpnNsSTqKl4EsitdxYj4BTYnIp3KEUAVzwAvwjd6H00mlsZPTKR1TzJ93KFmEEe7XiAuJEiKMX1Vs+u7yBVKBXBR2rarLvHPVNBVQY7HRA4wahR4A9CRQ8TGoDT5Xh7wPktoIUvvaeovoTlKlIYFe5+WcKuj1RJCIf1dbJCGL1rJun/dZxbta9o9nK7OR3kxz3Q5MXWhTc1FIhtAVAUy5YSaJlpZrhL/nhKuoUzb26u1gJHXxLhK9AQFCDzHX8HHvNDIEctkrWEUOVcRU3GFW0RBTQprWK83AeRoWS97HSEEbaqEnOU9C4YudHYRarMi5lO/vjY+nkyvcJu/wP8NWcfe5Uz9/s2tnTbSZz1FHr8A2cHc710b/bhcmxVR78bQ8zzkLIiEZGmMYdjppljlgukmOXAfZxXANLfngG6OBIp1BvHCG5wGrFiHbP218ihW86j8PuB1CFJjur8d2lZERM8ZINQXUXmCq9HPup9wkLrl5MboTfvHY1h1JoobTeL1c4jd8MOlT/n5p01N13UCRWCBqzl7NRmMA9yNf8KsFYnqIvw7psolK4mI/CwdXEb4qX7RqiWCVuQehf3FrMogHrazHSNOrwOF8EOswv/OfIZObiOJRSeIVxQUJEa1YF07JowGAZ8+3TvGYQ8DixJNw+hqv0U95alcFVJAeTN1zoXBE/3Gci+Zk8KuTUPu3t4B35McGVOekRH8wfgYTN6Wzdj179BH5cq/u5xOSTBTMwHSLDCKN48wmif7thjK1gerP+DXjLgjUbWIZ9kvVjRGSS181ZHVrWcUUhUfA7gdmAV+8wKzYnf4uDUPswVua02LTVbpdZtQkBUUjRTyLg9RyP2ccqh3SQYQFVKzF6gzBYyne82vsLrp7tS8AUF0+cf4+Kl+SyajlHGagTV9/eGM4Tz8+u+BQCYFPIsjv1hiGWXI1d/PFDM1qD6yy/JMuwB7SuC1pNaKhK1bD1jW5W+Cx77Xqv0NlWK/hupFd3tT1Zgg+3YCHK8kDRqXHhsuoghwC/YTI+/BhmewbsDOC7XIa4ofPOWcgRd75W00mT+nMIs9SUFdT/aI/14jgrfzJHOFb0P7llNGVAAccMkS2geHqUi34NeKrxfG/10hCwMKpfBSXpSRTyc47SudhH8NwR/m09xX/TmlaLlCBO0uKE5lZLiwajP3q/c3q8X33MmKnJVG6NUk3fqF+xn575F4VXljTdyVODPS/dwkKDVxIO6eU9s/PMfi9U77MxDmg8kd5HB1l5OyIkCupiqnqcZ6zs0/kQM2ZI7dq61WbeV5laQzj4T55c+gprMauV1Y/8QSPN/breBFidU1pE8SxCu28O0vcseA71irhqiX7rSXwtkevP7PUQFeFmfvBif04ZNHieLy0nETigMUGkYKjcDThDt1FxVsuGHBVoT3CYJMp3G1ALiAvoT2WIHxmdhwejVmyRF7jwy2P153BpUqr3hwZGXnCWVZWhd7nju3raJknVvVbaeCI9aLfskUMXPV7+oFh6QnLWzoq3IVE7P9CFaH+uoj+pMVChljWWeAw1esgJ92aniQv0tWDSj4uExuBgGhpTdC4TSSzX5fDYOI4PgdzDkJfAnwQwRli6N1xQOEaV6KM/Wzk+G9jGcVeX4eGtJpozJJKquk1Dwu+Gm3fMh8ZNw3pq99VNLjfYPvRtUqSJcrYIj96DOGaLXxtXs0yzOuFlMQecRAEa9hYQc/pxFiN7Yoe6syPVFZmfaa+bSTHJzjgkxi6v85XJ53Qh8AjAKuvhSCymrB1YN/rvx7yUgs/jOYi6H0f7F93Am58gegmEPu5ksva5KhSY61T1NSv0+G96gvvAcu4s7BfJ8oTCLyxd9m2p/BL94ph04TV3p3vx2fIcbo8+ig5dduuJz4lyqDkdpqTy3HNp526pGy9GKQw/22cVtE1+ZS0FFDeuoWOsYdwCebni4NnkrBmK67lzb/AZ7L4qC2CNYKs4PLzV+kCwzlADkHDCtHjRivgNawXajgxT+N5YXwTBC6mPaTSeRhJxQespdTvC3mCnxylp/Rb6VSEY5PQoqDjmjqs7DPuUStfycBXYK6pcqZoNEt0kn3GdtSNF3SXDcliWauUXx4qvJ57hAvQs8k7Pul2dbIkKXGJjXAWRt0JwGtVOXgZ3RUzUPvVdZbkcRklGH2VVFGTX6uFow7dNAARButYSj+W8HM9xsD0acYU6f2QEx+ZGuA+Rt8G8F5604k3H0XvJt3+bbkP+oMgI+zvDp++97HnI9oOdT6xcguFlossZwgSm9FqryNenYlj7TdiDF1Wh7pGVpXdJeeSa5cyaAINkMgLKOkGa0wh/QJXsaGEHhcrlwB+pDhZRznKL/1KuTbzpHcFDuFJA2MH9gP9Z7++Ht/Iq0KOS99+Y/BGL5vn8b5h6KGmW4D+gUdpDfwsB5z6lfjjs9WvpxXFCYxFaMaW2CDDxtciBJdGTTrngw39UjfWT3SVZqgMlMOwNX3YgP7ieeoXzv9gAR7H9Zeguifz2FXM+LZRM6lY21jZ7xjmyS0n5pqJRt3EP68sonzZZktIWzPoeqaULEbkNFuBLk9jcw9P0g7H8ZIOz1r297HPg9o2YQZoQNQju9xTB33xUzmDymAz0NYX4ZoIo7nTPRqCHAJK7rCJ3iF+5fjT4+m+0JSDOC6tkRNGtpXHWN3zvGVAmB+FTdxK/NTS4k65w39CRoh8anii7S74O6zIJzWIa2cRfEh09KJgIKNfWlGJqKClQ8pOfV9oiH5oz+BWTIajOGwuhDNNaxqcMa62frXGpgIMwQ1fDhJVBj8jNvdpko/BXTOE8eBvQ0MwcGxh+8lNHW1fhJI767p6+4j7mDje19gCDX9Rb5yP/srtQEDgW2urF0eSpc7tGTbMrDvUqt9pC+aacltan07uxzPNwXZr2d/blYGxisSS6JLtu90EtPvJRRLMP+VnwgFxteC2AFRo+lXt5hR7/0LJJlrOENFdEJae9wOP/JZkRdgWfJ+wQQ3F/e1gxCi4cKH16na3McKoQ2GeDF8ITn6XnR3uPlqspGpSx9GS6wfFReUgAqTu0BMux7yu/4r0R2w8swg89X3BpV4AEGef0TWi42qPhxmMBNc6kntwJDS5FKs7Fzdi5zWTmM9shhLUgDMKDWK0VLvfaxkbi6KEBNDj+XuOSE7Gc5Cr87EReFxKO47DSWqqip85RDrbmhRqaD2wzWRRN+ycnDzWLEP8vKgBVVznwAdB7POftU4a9z2gYrMZk4Z+C9G7JllhbE8QH5VPXtmSRevKDH9cRI6ceK8aQT1LUdNsTnZnGAZ0cSDu82Zj8z6JkIbHTFmGbo2M+VfojO4BsHwnPGO99pAci6iki/xUrJZO5YN/GyshoGCaoPk1jR4wHSpGMExY8TV1t6TmPlMHbn6lcBA+ImNwDFAB4SEI6I34RWeFMgm/ucNj+LYG+id0gZZ6KlK5z+WvSINmwuTw4MvkRU+EAfXviAWMRPHaJWqZuIg6bfqywxFDx5YVRi3fccCGF0Fl8jiXRqGeTOr3KCd9xHj4RrI5X5ZDcjOlicGZvijVZ8CGqou0vEzb162Q8vaXaze7JSXrEeTWXbT7wpj/4No0er6EuKhevGjhkhuSsTlgOO41BnnKGTxDrYmVzXre2UPtF15RV3lxnZZRVC18PH3HYm5LRqXCpQ29FKXakCwYsQRunD/101SK+ESZH/Nk7Z0VHlYqWra41AbTxcZP1va8aBbcml7uEEt2YCmMEqQbeYv/VFer2T6x2PWkkQ/fE5ldJXB7EhsWfPo1NQYkaQScx/QfN1A2PjS7I6IIfTC3hi5lh6kSTCyGqo3HlFu1UNF+ddrUkvN+VygbnvBiB6W49vH77gpOz/Pz1Wa22Nii3GDF69b1r5MHKSWFOEIwMpMj4KHsNfhaF/wRhIrOtAfjPwPVhc337RX4ECz8T70hiKW/vIEziY7Rh3jw5ud5sLEebvevlxfw1bFntqFxiIH6XJC65HRauLynkuEyf+XOXYwhHDoma4+nr6zn2ctM/AG8mZy/9rWpaZK34uw1dqkZh/+0wgk+REqRjln2ebgmCx6bKAqKnyX0Qeni1VqCCe+cHnd/st5s2Watfo3cY0JXG2oi3P0o3QLBWw79vU6LsbBWvduumrqEJiAu+9lOJJWunOuqrNrd0I2cDRm0exobLumAAhoIqEl+QJxYeqthUDRYMJX24C9EqKw47mjlvWUlL68MOoAyb8/aZhj/B1ck7Ts1Od7UY41uPalRIa9XJ8Unx8mbDayUPJJIEhPCg6B4sCg0dMufYwjy91xZzwKYlBF4QeqHu29dlGodCywekYkqk1aD2Y57DE9rWx1SDKnslTKT0kgvBZkF0U7D76XeHlZ3kU4l8Nqu/3hCR+NRy5wgOi0Q+oDCfm7QdXrvnFnmtGgtrKuNygh3MfnXfrZqykd0n4zEQAiQ3blf9BtsgTrWbU8TPhN3hyaVCokOrKMgnMpr0QQk5gyIBYsPdFdGv2H33IMTlUx+jALHGS0QVy5C+TscC7iwUUD7WKlCnc6mfwHzHfagGsG+4/nn+00AGoJjfnAcFFPa/hLlOWxqABgO46X2QYvgZYTlNHeNaiLz3Yfpk9HY+ICoeRQdwNrCUOM+/NCUsSTqh1ohPAFdW8pN7dX6AZyYjWAvdBPJVuMp9GSiqFylnRcCjPmXFytl2R5SEJ0Adx7nkBBNOQMM7PJ4eQxVTu7MHHPqFE4uVNc+dlCPgjB8th/FgXjadHXCtHLfxvBGlStnOMEi9IapIlikLfKyRZcDQ7wWLbCHRfXKdzpVwAAODTEdmxWB6hYrxXml9CGz7+KB6msdaHBuuRyRu1d1lHSHGyFS8Rwp68gjv9S7rUwwA8u/oVoVG27TNst0y4z/nPmUOQ+VE4hbLn6V+cb+rir16LCIqywquiZ3vPwmPP0ObdIkjIzXNR6RMWbVTBRC5K71+CejEay5P8TCXyWJuqsdbGiPjVv7viEP7KyZyNhr+PzGezCkGYiSNzjXBs7j/rLywvv93rODQa771ycDvbgQKCpr5H07whcG46oEY6xyW5B0r6NcvGMmGbP8O7skEbS/KUbpCJA1osexLBkZ+ypKyYSX5mpynUr7Rzola1plk1+0AqTYP+UVp9uA5OdKhoULCpcNumW/LIKwAQig6kzumMPdoWuUtowZe+WF7MHnRFRa2mbiQUMkg4ugfhXv3CMLr7dI0FSHo6EYU1dMW0YKwf/KoA1kP1i+fcJf/XQsqEWiwwbnjjW10QnhJCnCJit+mHK85gNHkurHoH9H1Gup02NXPYuVr++ETFHpmU4YbJlugz6u4Ro9aofFdmlfEonIe7I1j9UV8TdAlXHM33GuRRyD1mj2iWN+n9v//32k+UAxnxFGCrhXw4S6DZ8wHewM0Z9Rm5KxxmJbciDqzS2rHnK5CE9IjJ4eqKx51Y/B42ux7/B0ko2/P61dX6llf7bRhkYMrAt6uD6IfviFPPC8wsaFIx0VgtSVqMgTQ8BBbDosockJgukxJTwK1wdi/+Ur7jIqWFm6TEY65VEJAX4Wt7AXZfUmCYa5blDSIltuT5nEPz/XyFdGMj0hKm/DYVh7IMCG5VgJ2mn7qLtuOdHSexVdG7P/QMRU9QkabhSh+Tbiyid2F2YcRj4dYltthK1OOzMB67QkMB5N2TnUaeUOu74ZVabnpa3LaqIaEWjZoTQnGEhqDH9H41I7Lc9FQJs+/V3jgR9aEe8FdjqaCAgvWJo9n7xBIo/yZ4WsYVe9Fz3tm4ek8qYkVqjCAt+xNzoLW2CI7IVlKw5RhwpXpFcN63kDxQUE+aFdCQCrC5fet8cqeA0ysoHu1sMe1ykgd6vuf+UQayvr6a5yeankR/BrCfK8steU26Kc4MnsifXAQFDAhvPS3/OCgklI38Dr4joYLeROxvw3Q9UxsvxHeqNrk9x0KUBW+8frxvo/I2RM6k3dADAzmhs5IYj1j0Bg3QwnYnFe4kH28tZDhTRaXVgf9ODjWOXUDSbebTh8LVNOQYLMRL0lUkx05Dr+m0AO6F7lYhR1mTgbQJd7eKhv2k8Gwz10Kjb+Gzi1gbYRBV/8g/HyGwdxrRmdnciz1j0ZvgHLjut24Y0JUkStp6rV8vu9bx6JpVnK5hnJiu7da3XgpaTXSNctk23uoWPKKlzY1lsRKJgi3JEllZsp+/IGCvLkn78BI0XS4uHu6f29QN9imBdHwzMM6yvcvBj1QoHkcKQow9P6P4rTgpK02MNNOgNTc/FgUUSR0A0uOJjh31SlwQWnDt605r4P/71cHJ+bjgwzB12r8CcdUpyF1g4XXJ6bSAJ+veta32+e28i0ZhlrB1Qmviv5lh3E+49GPaHsDjeoYOdivH6IlmRyAD6q75ABa3T/Q1SulRtaOo/LK4qB6MMhMKUoDsQAMMC7c6ygL/5+WPARXhw4YSjvXw/uYnxWvNvyz8GgDrWa4vlHoaSGrnv05KXrDdXcmsVYb3EzzaRgxx5rU1D7I8hlzMu1c63SIJdzKzwi0X3qg5I1brXdaa04nShzeLvZ+xzqYlxIGFMb2je4OjFUAz6GYs/UzQvXlVWEHtBHsXr5HpgrXDpe6ThCTNdlKLbOqvIuX1LwVUjpFWCHlqwecSvEWx3F+LZqihX/OCxlliKfsS1uFCaT7t/t7vt8ELAt4ll0US3LTZ119MwV0WTNFN2fPQpswt4uPosF0IWbNyRb2pDwG9bRWXuxBJdbkCssZCvUsSV5gV69Ac3lwh1WvivAGhHoUzYVao3mA0IcL1nJHvwpbxvsZfUUZchMNWZDPVqV8zre70aFQ0vRk/F/fqq4LPouwGK7wH18h0wRXThs9Ibx/9GOTDKc27tZAKEcWCxKe58pg9OAArqJJvLv4UfMTZzTmMpf0voH8BuMM782tt6dsan5rRx71H2KNhzjceIz7v376MBHyDtSAalBSdSmXXzTHrmzhPdhQRRuci1i8tKnDkykpIk+hG41Uh037kAvX4cMqpr6/7p25FA15Kv3wAq7X8Xm54p5xEIE6VcMT9r5GtpWm/rVuSghRwNLDlNqT2pTVTqAywVSp5QqP/E8OIFQcSAkzm7PBTv6JIlbtQ4iKGai79iEmW63y3Qhs+5m25vUopJyt3sEqHqcfMmhtoVlyoqWX1idbedjlT1YTeULZiUbup7U1VXgjg7UOJ2+OIk53HD9njrLG9rRRtD1WzErmLAS3UAXiBlBEWXigAK98tyltmMEMrv2QyAbgMCif6zkViVvMyjyvogLgdXyctDqks6wgVgDQVRrMkAm0pwOCz8YL18RBpl5m7biGsHepodrcyaFcoRvMo7ZWO8HBiLczS1Z5L61g971y9oAEMB5ybInask1WU3F8yebQSA7XpzpkLXH9QigS5LL2k0n7P3AmOKFHGkJieFLkkXXQRVDkJGQG1LJBxTPXEsKV5RPdjbQak4bSErpeWkJxWJ2o/KXous24qiyxxXOi0SYR5sbmotsTTtXT85ZhyFQC1RoQ+sEQEegsrtRBnJmWGYvPDzYWa4DtTdxZLQEfk/UmMGGb35f/xixAlBFBKKjxHsqfGf6FfNZQtED9CXIcniVHvB97kUM1F7AFCUWBrVr8F0qppebHhWsApDpXYsMuTnMYtNIjqgQnXa+2LPMPpS3vzV6ejkPO1eWIOJZyRav7tb16Hj8jYPx2cPrfmYSxe+mbW6W+W3SF9xcRLk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49943" y="914400"/>
            <a:ext cx="8316686" cy="526868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08534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414765" y="3167390"/>
            <a:ext cx="83144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 algn="ctr">
              <a:spcBef>
                <a:spcPts val="1200"/>
              </a:spcBef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12598265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48531" y="914400"/>
            <a:ext cx="8314470" cy="326698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This presentation will cover:</a:t>
            </a:r>
            <a:endParaRPr lang="en-US" sz="20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53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n update on the TRAC transition and the integration of Veterans Transportation </a:t>
            </a:r>
            <a:endParaRPr lang="en-US" u="sng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53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review of The RIDE’s performance across its key metrics</a:t>
            </a:r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1153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discussion of current initiatives and future investments to improve performance</a:t>
            </a:r>
          </a:p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No board action is required at this time</a:t>
            </a:r>
          </a:p>
        </p:txBody>
      </p:sp>
    </p:spTree>
    <p:extLst>
      <p:ext uri="{BB962C8B-B14F-4D97-AF65-F5344CB8AC3E}">
        <p14:creationId xmlns:p14="http://schemas.microsoft.com/office/powerpoint/2010/main" val="806200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8EB10139-5408-447F-9AB3-10A80A028D3D}"/>
              </a:ext>
            </a:extLst>
          </p:cNvPr>
          <p:cNvSpPr txBox="1">
            <a:spLocks/>
          </p:cNvSpPr>
          <p:nvPr/>
        </p:nvSpPr>
        <p:spPr>
          <a:xfrm>
            <a:off x="448531" y="244963"/>
            <a:ext cx="7751547" cy="466344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dirty="0"/>
              <a:t>CALL CENTER TRANSITION UPDATE</a:t>
            </a:r>
            <a:br>
              <a:rPr lang="en-US" dirty="0"/>
            </a:br>
            <a:r>
              <a:rPr lang="en-US" b="0" dirty="0"/>
              <a:t>Veterans successfully transitioned in August and work continues to improve service </a:t>
            </a:r>
            <a:endParaRPr lang="en-US" b="0" kern="0" dirty="0"/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567CE532-D9D5-48AF-9669-E4D4C1297F77}"/>
              </a:ext>
            </a:extLst>
          </p:cNvPr>
          <p:cNvCxnSpPr>
            <a:cxnSpLocks/>
          </p:cNvCxnSpPr>
          <p:nvPr/>
        </p:nvCxnSpPr>
        <p:spPr>
          <a:xfrm flipH="1">
            <a:off x="355603" y="3025828"/>
            <a:ext cx="8595360" cy="0"/>
          </a:xfrm>
          <a:prstGeom prst="straightConnector1">
            <a:avLst/>
          </a:prstGeom>
          <a:ln w="25400">
            <a:solidFill>
              <a:schemeClr val="tx2"/>
            </a:solidFill>
            <a:prstDash val="solid"/>
            <a:headEnd type="none" w="lg" len="lg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7BAC608F-9526-4126-A78B-B28B887429EE}"/>
              </a:ext>
            </a:extLst>
          </p:cNvPr>
          <p:cNvSpPr txBox="1">
            <a:spLocks/>
          </p:cNvSpPr>
          <p:nvPr/>
        </p:nvSpPr>
        <p:spPr>
          <a:xfrm>
            <a:off x="152400" y="3702535"/>
            <a:ext cx="2093997" cy="1883004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200"/>
              </a:spcBef>
            </a:pPr>
            <a:endParaRPr lang="en-US" sz="1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88E202C-8232-4314-A694-90077F0EE66B}"/>
              </a:ext>
            </a:extLst>
          </p:cNvPr>
          <p:cNvSpPr txBox="1">
            <a:spLocks/>
          </p:cNvSpPr>
          <p:nvPr/>
        </p:nvSpPr>
        <p:spPr>
          <a:xfrm>
            <a:off x="2272799" y="3702535"/>
            <a:ext cx="2146801" cy="1886690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200"/>
              </a:spcBef>
            </a:pPr>
            <a:endParaRPr lang="en-US" sz="1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2" name="Content Placeholder 10">
            <a:extLst>
              <a:ext uri="{FF2B5EF4-FFF2-40B4-BE49-F238E27FC236}">
                <a16:creationId xmlns:a16="http://schemas.microsoft.com/office/drawing/2014/main" id="{3104CEDA-313B-466C-93E6-457AEAC2B61B}"/>
              </a:ext>
            </a:extLst>
          </p:cNvPr>
          <p:cNvSpPr txBox="1">
            <a:spLocks/>
          </p:cNvSpPr>
          <p:nvPr/>
        </p:nvSpPr>
        <p:spPr>
          <a:xfrm>
            <a:off x="4572000" y="3702535"/>
            <a:ext cx="2093997" cy="1883004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0"/>
              </a:spcBef>
            </a:pPr>
            <a:endParaRPr lang="en-US" sz="1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16" name="Content Placeholder 12">
            <a:extLst>
              <a:ext uri="{FF2B5EF4-FFF2-40B4-BE49-F238E27FC236}">
                <a16:creationId xmlns:a16="http://schemas.microsoft.com/office/drawing/2014/main" id="{A9738CF8-2DAF-45DF-A9AC-B40BA14EA722}"/>
              </a:ext>
            </a:extLst>
          </p:cNvPr>
          <p:cNvSpPr txBox="1">
            <a:spLocks/>
          </p:cNvSpPr>
          <p:nvPr/>
        </p:nvSpPr>
        <p:spPr>
          <a:xfrm>
            <a:off x="6705600" y="3702535"/>
            <a:ext cx="2120399" cy="1883004"/>
          </a:xfrm>
          <a:prstGeom prst="rect">
            <a:avLst/>
          </a:prstGeom>
        </p:spPr>
        <p:txBody>
          <a:bodyPr lIns="0" tIns="0" rIns="0" bIns="0"/>
          <a:lstStyle>
            <a:lvl1pPr marL="0" indent="0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10000"/>
              </a:lnSpc>
              <a:spcBef>
                <a:spcPts val="1200"/>
              </a:spcBef>
            </a:pPr>
            <a:endParaRPr lang="en-US" sz="1200" dirty="0">
              <a:solidFill>
                <a:schemeClr val="tx1"/>
              </a:solidFill>
              <a:latin typeface="Arial"/>
              <a:cs typeface="Arial"/>
            </a:endParaRP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70934320-7980-4589-BF6B-2F66FCFC1B4F}"/>
              </a:ext>
            </a:extLst>
          </p:cNvPr>
          <p:cNvCxnSpPr>
            <a:cxnSpLocks/>
          </p:cNvCxnSpPr>
          <p:nvPr/>
        </p:nvCxnSpPr>
        <p:spPr>
          <a:xfrm flipH="1">
            <a:off x="396240" y="3864529"/>
            <a:ext cx="8595360" cy="0"/>
          </a:xfrm>
          <a:prstGeom prst="straightConnector1">
            <a:avLst/>
          </a:prstGeom>
          <a:ln w="25400">
            <a:solidFill>
              <a:schemeClr val="tx1"/>
            </a:solidFill>
            <a:prstDash val="solid"/>
            <a:headEnd type="triangle" w="lg" len="lg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Content Placeholder 10">
            <a:extLst>
              <a:ext uri="{FF2B5EF4-FFF2-40B4-BE49-F238E27FC236}">
                <a16:creationId xmlns:a16="http://schemas.microsoft.com/office/drawing/2014/main" id="{D49442DA-777F-4CCC-8BF4-ED7A94E1C8BA}"/>
              </a:ext>
            </a:extLst>
          </p:cNvPr>
          <p:cNvSpPr txBox="1">
            <a:spLocks/>
          </p:cNvSpPr>
          <p:nvPr/>
        </p:nvSpPr>
        <p:spPr>
          <a:xfrm>
            <a:off x="4785208" y="2120289"/>
            <a:ext cx="1943992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Transitioned Contracts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Engaged Stakeholders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Hired Employees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endParaRPr lang="en-US" b="1" dirty="0">
              <a:solidFill>
                <a:schemeClr val="tx2"/>
              </a:solidFill>
              <a:latin typeface="Arial"/>
              <a:cs typeface="Arial Black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20E5115-C202-433E-92FA-07098DB30E1C}"/>
              </a:ext>
            </a:extLst>
          </p:cNvPr>
          <p:cNvSpPr/>
          <p:nvPr/>
        </p:nvSpPr>
        <p:spPr>
          <a:xfrm>
            <a:off x="5435809" y="2846339"/>
            <a:ext cx="642789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May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8-31</a:t>
            </a:r>
          </a:p>
        </p:txBody>
      </p:sp>
      <p:pic>
        <p:nvPicPr>
          <p:cNvPr id="25" name="Picture 12">
            <a:extLst>
              <a:ext uri="{FF2B5EF4-FFF2-40B4-BE49-F238E27FC236}">
                <a16:creationId xmlns:a16="http://schemas.microsoft.com/office/drawing/2014/main" id="{0DC4864D-9330-44B8-B9A0-2FE033923D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012" y="1337495"/>
            <a:ext cx="696383" cy="703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Content Placeholder 9">
            <a:extLst>
              <a:ext uri="{FF2B5EF4-FFF2-40B4-BE49-F238E27FC236}">
                <a16:creationId xmlns:a16="http://schemas.microsoft.com/office/drawing/2014/main" id="{9DF3A88A-0994-47C5-B2C9-9FB8E445D01C}"/>
              </a:ext>
            </a:extLst>
          </p:cNvPr>
          <p:cNvSpPr txBox="1">
            <a:spLocks/>
          </p:cNvSpPr>
          <p:nvPr/>
        </p:nvSpPr>
        <p:spPr>
          <a:xfrm>
            <a:off x="5024207" y="5053342"/>
            <a:ext cx="1465994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Ongoing Employee Training</a:t>
            </a:r>
          </a:p>
        </p:txBody>
      </p:sp>
      <p:pic>
        <p:nvPicPr>
          <p:cNvPr id="49" name="Picture 2">
            <a:extLst>
              <a:ext uri="{FF2B5EF4-FFF2-40B4-BE49-F238E27FC236}">
                <a16:creationId xmlns:a16="http://schemas.microsoft.com/office/drawing/2014/main" id="{C2F62737-4D41-48BB-8470-CB4800B630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584" y="4272002"/>
            <a:ext cx="601234" cy="601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3026A8B5-C57D-46C4-A6BE-A8091B2C9407}"/>
              </a:ext>
            </a:extLst>
          </p:cNvPr>
          <p:cNvSpPr txBox="1">
            <a:spLocks/>
          </p:cNvSpPr>
          <p:nvPr/>
        </p:nvSpPr>
        <p:spPr>
          <a:xfrm>
            <a:off x="247204" y="2120289"/>
            <a:ext cx="1943994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Contract Awarded</a:t>
            </a:r>
          </a:p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Employees Contacted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BA33D10-C856-4459-AF14-19CB6710D8EB}"/>
              </a:ext>
            </a:extLst>
          </p:cNvPr>
          <p:cNvSpPr/>
          <p:nvPr/>
        </p:nvSpPr>
        <p:spPr>
          <a:xfrm>
            <a:off x="758156" y="2846339"/>
            <a:ext cx="922088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April 30</a:t>
            </a:r>
          </a:p>
        </p:txBody>
      </p:sp>
      <p:pic>
        <p:nvPicPr>
          <p:cNvPr id="45" name="Picture 16">
            <a:extLst>
              <a:ext uri="{FF2B5EF4-FFF2-40B4-BE49-F238E27FC236}">
                <a16:creationId xmlns:a16="http://schemas.microsoft.com/office/drawing/2014/main" id="{2836073B-4B3C-4F70-A401-186FF59B05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83" y="1348923"/>
            <a:ext cx="700634" cy="680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Oval 28">
            <a:extLst>
              <a:ext uri="{FF2B5EF4-FFF2-40B4-BE49-F238E27FC236}">
                <a16:creationId xmlns:a16="http://schemas.microsoft.com/office/drawing/2014/main" id="{02EE9FD9-549C-415F-8FD7-F85136F459A9}"/>
              </a:ext>
            </a:extLst>
          </p:cNvPr>
          <p:cNvSpPr/>
          <p:nvPr/>
        </p:nvSpPr>
        <p:spPr>
          <a:xfrm>
            <a:off x="758158" y="3685040"/>
            <a:ext cx="922086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June - July</a:t>
            </a:r>
          </a:p>
        </p:txBody>
      </p:sp>
      <p:sp>
        <p:nvSpPr>
          <p:cNvPr id="36" name="Content Placeholder 8">
            <a:extLst>
              <a:ext uri="{FF2B5EF4-FFF2-40B4-BE49-F238E27FC236}">
                <a16:creationId xmlns:a16="http://schemas.microsoft.com/office/drawing/2014/main" id="{0F24C5A9-FB4E-4F32-9F58-6BB4E6E943E3}"/>
              </a:ext>
            </a:extLst>
          </p:cNvPr>
          <p:cNvSpPr txBox="1">
            <a:spLocks/>
          </p:cNvSpPr>
          <p:nvPr/>
        </p:nvSpPr>
        <p:spPr>
          <a:xfrm>
            <a:off x="533402" y="5053342"/>
            <a:ext cx="1371598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Planning for VTS Transition</a:t>
            </a:r>
          </a:p>
        </p:txBody>
      </p:sp>
      <p:pic>
        <p:nvPicPr>
          <p:cNvPr id="50" name="Picture 2">
            <a:extLst>
              <a:ext uri="{FF2B5EF4-FFF2-40B4-BE49-F238E27FC236}">
                <a16:creationId xmlns:a16="http://schemas.microsoft.com/office/drawing/2014/main" id="{E7712173-0B38-4BD3-88BA-F836EAE626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430" y="4245845"/>
            <a:ext cx="653549" cy="65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Content Placeholder 12">
            <a:extLst>
              <a:ext uri="{FF2B5EF4-FFF2-40B4-BE49-F238E27FC236}">
                <a16:creationId xmlns:a16="http://schemas.microsoft.com/office/drawing/2014/main" id="{A6E347B7-3C97-41A9-89F2-0C075652034E}"/>
              </a:ext>
            </a:extLst>
          </p:cNvPr>
          <p:cNvSpPr txBox="1">
            <a:spLocks/>
          </p:cNvSpPr>
          <p:nvPr/>
        </p:nvSpPr>
        <p:spPr>
          <a:xfrm>
            <a:off x="7036802" y="2120289"/>
            <a:ext cx="1789198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Transdev took full control of TRAC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97688E13-4CA2-4E05-9A63-A91DAE8F2D93}"/>
              </a:ext>
            </a:extLst>
          </p:cNvPr>
          <p:cNvSpPr/>
          <p:nvPr/>
        </p:nvSpPr>
        <p:spPr>
          <a:xfrm>
            <a:off x="7565161" y="2846339"/>
            <a:ext cx="732478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June 1</a:t>
            </a:r>
          </a:p>
        </p:txBody>
      </p:sp>
      <p:pic>
        <p:nvPicPr>
          <p:cNvPr id="43" name="Picture 6">
            <a:extLst>
              <a:ext uri="{FF2B5EF4-FFF2-40B4-BE49-F238E27FC236}">
                <a16:creationId xmlns:a16="http://schemas.microsoft.com/office/drawing/2014/main" id="{6052CFC9-D731-47DB-A784-A1D57923A90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222" y="1363956"/>
            <a:ext cx="650357" cy="6503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" name="Oval 31">
            <a:extLst>
              <a:ext uri="{FF2B5EF4-FFF2-40B4-BE49-F238E27FC236}">
                <a16:creationId xmlns:a16="http://schemas.microsoft.com/office/drawing/2014/main" id="{547C0AA0-33C5-44D8-9530-C294E592666F}"/>
              </a:ext>
            </a:extLst>
          </p:cNvPr>
          <p:cNvSpPr/>
          <p:nvPr/>
        </p:nvSpPr>
        <p:spPr>
          <a:xfrm>
            <a:off x="6143610" y="3685040"/>
            <a:ext cx="1108590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  <a:ea typeface="Roboto Light" panose="02000000000000000000" pitchFamily="2" charset="0"/>
              </a:rPr>
              <a:t>Fall and Winter</a:t>
            </a:r>
          </a:p>
        </p:txBody>
      </p:sp>
      <p:sp>
        <p:nvSpPr>
          <p:cNvPr id="39" name="Content Placeholder 12">
            <a:extLst>
              <a:ext uri="{FF2B5EF4-FFF2-40B4-BE49-F238E27FC236}">
                <a16:creationId xmlns:a16="http://schemas.microsoft.com/office/drawing/2014/main" id="{2E1F7A39-F81F-4189-99F7-21D48A5C5BB8}"/>
              </a:ext>
            </a:extLst>
          </p:cNvPr>
          <p:cNvSpPr txBox="1">
            <a:spLocks/>
          </p:cNvSpPr>
          <p:nvPr/>
        </p:nvSpPr>
        <p:spPr>
          <a:xfrm>
            <a:off x="7252200" y="5053342"/>
            <a:ext cx="13584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Ongoing Operational Enhancements</a:t>
            </a:r>
          </a:p>
        </p:txBody>
      </p:sp>
      <p:pic>
        <p:nvPicPr>
          <p:cNvPr id="51" name="Picture 22">
            <a:extLst>
              <a:ext uri="{FF2B5EF4-FFF2-40B4-BE49-F238E27FC236}">
                <a16:creationId xmlns:a16="http://schemas.microsoft.com/office/drawing/2014/main" id="{C3426214-5693-4F5B-BFF7-1059BA1129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2283" y="4223273"/>
            <a:ext cx="691841" cy="69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Content Placeholder 9">
            <a:extLst>
              <a:ext uri="{FF2B5EF4-FFF2-40B4-BE49-F238E27FC236}">
                <a16:creationId xmlns:a16="http://schemas.microsoft.com/office/drawing/2014/main" id="{708528E1-F908-4E38-85D4-9F765EF058E6}"/>
              </a:ext>
            </a:extLst>
          </p:cNvPr>
          <p:cNvSpPr txBox="1">
            <a:spLocks/>
          </p:cNvSpPr>
          <p:nvPr/>
        </p:nvSpPr>
        <p:spPr>
          <a:xfrm>
            <a:off x="2753803" y="2120289"/>
            <a:ext cx="14688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Mobilization Team Onsite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DBD97454-FFAE-4EA3-9D0E-EB2B16F3237F}"/>
              </a:ext>
            </a:extLst>
          </p:cNvPr>
          <p:cNvSpPr/>
          <p:nvPr/>
        </p:nvSpPr>
        <p:spPr>
          <a:xfrm>
            <a:off x="3166807" y="2846339"/>
            <a:ext cx="642790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</a:rPr>
              <a:t>May 7</a:t>
            </a:r>
          </a:p>
        </p:txBody>
      </p:sp>
      <p:pic>
        <p:nvPicPr>
          <p:cNvPr id="42" name="Picture 5">
            <a:extLst>
              <a:ext uri="{FF2B5EF4-FFF2-40B4-BE49-F238E27FC236}">
                <a16:creationId xmlns:a16="http://schemas.microsoft.com/office/drawing/2014/main" id="{E6C5042F-905B-44EB-8EC5-4493F30A28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1908" y="1322840"/>
            <a:ext cx="732588" cy="732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Oval 29">
            <a:extLst>
              <a:ext uri="{FF2B5EF4-FFF2-40B4-BE49-F238E27FC236}">
                <a16:creationId xmlns:a16="http://schemas.microsoft.com/office/drawing/2014/main" id="{EEB1E049-578D-420B-9DF3-B68403FCECF9}"/>
              </a:ext>
            </a:extLst>
          </p:cNvPr>
          <p:cNvSpPr/>
          <p:nvPr/>
        </p:nvSpPr>
        <p:spPr>
          <a:xfrm>
            <a:off x="2861605" y="3685040"/>
            <a:ext cx="1253196" cy="384380"/>
          </a:xfrm>
          <a:prstGeom prst="ellipse">
            <a:avLst/>
          </a:prstGeom>
          <a:solidFill>
            <a:schemeClr val="bg1"/>
          </a:solidFill>
          <a:ln w="22225" cmpd="sng">
            <a:noFill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</a:rPr>
              <a:t>August</a:t>
            </a:r>
          </a:p>
          <a:p>
            <a:pPr algn="ctr"/>
            <a:r>
              <a:rPr lang="en-US" sz="1400" dirty="0">
                <a:solidFill>
                  <a:schemeClr val="tx2"/>
                </a:solidFill>
                <a:latin typeface="Arial Black" panose="020B0A04020102020204" pitchFamily="34" charset="0"/>
              </a:rPr>
              <a:t>4</a:t>
            </a:r>
          </a:p>
        </p:txBody>
      </p:sp>
      <p:sp>
        <p:nvSpPr>
          <p:cNvPr id="33" name="Content Placeholder 10">
            <a:extLst>
              <a:ext uri="{FF2B5EF4-FFF2-40B4-BE49-F238E27FC236}">
                <a16:creationId xmlns:a16="http://schemas.microsoft.com/office/drawing/2014/main" id="{32C8F556-0088-46BD-A139-5DA192676F27}"/>
              </a:ext>
            </a:extLst>
          </p:cNvPr>
          <p:cNvSpPr txBox="1">
            <a:spLocks/>
          </p:cNvSpPr>
          <p:nvPr/>
        </p:nvSpPr>
        <p:spPr>
          <a:xfrm>
            <a:off x="2753803" y="5053342"/>
            <a:ext cx="1468800" cy="49859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None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1pPr>
            <a:lvl2pPr marL="179388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2pPr>
            <a:lvl3pPr marL="358775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tabLst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3pPr>
            <a:lvl4pPr marL="538163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•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4pPr>
            <a:lvl5pPr marL="717550" indent="-179388" algn="l" rtl="0" eaLnBrk="1" fontAlgn="base" hangingPunct="1">
              <a:lnSpc>
                <a:spcPct val="105000"/>
              </a:lnSpc>
              <a:spcBef>
                <a:spcPts val="800"/>
              </a:spcBef>
              <a:spcAft>
                <a:spcPct val="0"/>
              </a:spcAft>
              <a:buFont typeface="Arial" pitchFamily="34" charset="0"/>
              <a:buChar char="‒"/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defRPr>
            </a:lvl5pPr>
            <a:lvl6pPr marL="335221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121898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</a:pPr>
            <a:r>
              <a:rPr lang="en-US" b="1" dirty="0">
                <a:solidFill>
                  <a:schemeClr val="tx2"/>
                </a:solidFill>
                <a:latin typeface="Arial"/>
                <a:cs typeface="Arial Black"/>
              </a:rPr>
              <a:t>Full VTS Transition</a:t>
            </a:r>
          </a:p>
        </p:txBody>
      </p:sp>
      <p:pic>
        <p:nvPicPr>
          <p:cNvPr id="34" name="Picture 19">
            <a:extLst>
              <a:ext uri="{FF2B5EF4-FFF2-40B4-BE49-F238E27FC236}">
                <a16:creationId xmlns:a16="http://schemas.microsoft.com/office/drawing/2014/main" id="{20DEC97E-E84D-4598-9516-DB882DD53F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8500" y="4226324"/>
            <a:ext cx="685800" cy="692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0" name="Rectangle 39"/>
          <p:cNvSpPr/>
          <p:nvPr/>
        </p:nvSpPr>
        <p:spPr>
          <a:xfrm>
            <a:off x="196047" y="1066800"/>
            <a:ext cx="8754916" cy="2413350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 w="285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4572000" y="3495537"/>
            <a:ext cx="4378964" cy="2413350"/>
          </a:xfrm>
          <a:prstGeom prst="rect">
            <a:avLst/>
          </a:prstGeom>
          <a:solidFill>
            <a:srgbClr val="99CCFF">
              <a:alpha val="21176"/>
            </a:srgbClr>
          </a:solidFill>
          <a:ln w="28575">
            <a:solidFill>
              <a:srgbClr val="FF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196047" y="3495537"/>
            <a:ext cx="4335317" cy="2413350"/>
          </a:xfrm>
          <a:prstGeom prst="rect">
            <a:avLst/>
          </a:prstGeom>
          <a:solidFill>
            <a:schemeClr val="bg1">
              <a:lumMod val="65000"/>
              <a:alpha val="40000"/>
            </a:schemeClr>
          </a:solidFill>
          <a:ln w="28575">
            <a:solidFill>
              <a:schemeClr val="bg1">
                <a:lumMod val="8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66808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RIDERSHIP </a:t>
            </a:r>
            <a:br>
              <a:rPr lang="en-US" dirty="0"/>
            </a:br>
            <a:r>
              <a:rPr lang="en-US" b="0" dirty="0"/>
              <a:t>Dedicated ridership returned to pre-TRAC levels with a significant jump in October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iuUJilMWH2ZFAnDv2Lj3IjNvsNXKCFDNPc7UODOpfNj7ixF333iKbWtOZTwJAUNVPmdJ1BTRqrpf8BzYwqyKtcz9VcUpTqhmtlijSowyEWQQIBtzUIUhfY7y5UBhYAZ5lLTwpjtH8zs1Aab7uR6Ys9qoiOwMlp31rw3Qg7tJpFplfYf3QEl2jEi8mpFOirk66XJ5whXyhP6TFXkhTS2XBNf1SQq6R72kb37z4Umsq7PKIhvmIQMIZdDC/LDstIcwvhrJYVcX6XGM+ZlzpYUQfmxzrlUPHiGXubCmt2R0jkmnmfhXebc6lYVT3agopCrvqICDu9Cv8Tm58XZ1frxq+N3CatNUi02siVLrtp2CpGLu/2Q3q9m3rMDtQkDcI7zEtU+p8sJVIgRJt+N/LD19cF6NFtcSK2smAYB+RHuWRsBLHc0eMtX5XZbEtecBqlNY0pyqX95b3B5vrZJqpB/8W/0vTkhXS7nr3kn+9vb8BqOneJJCgMLx3ul2sOfCe6lamzwuLT47ElZ05OsodK2IHp/KUmlz0mCS2/1GfhEVOgVHEsNEuUcxjfczjbCN7kQeeAqfMf3C0UxZhad2/XdXelBGIO9qEUUGA5g1yXQh5+lFsL2WJWJaV0UIXSZejQ+iHxsRNGmDpu8uxo1ORLqWnjFDe35g6bn4xgIOvGKEG+f5haV/9CDn9Pzx95T4iyDdNRJdD8/xI4vxTzBwCO3KtWpxi79Cv4d4Dg7heZ5V3GH0QWNESBqR8EQcBTxal3ck/xRmuaaMMx8FlkXDDOyDCRpWJSYAqaN/Yv1SFqGEXZ8VxDtHywNSe4wU3SJSIw/E9NkvCoVu6tgfnc+Du7kVE7XuD28W0H4QpWNzxYtTy9PrdOxU7UCSgruDKsbygaocSGwOdy1PKcS0RbdIvnW+eTusKzoyIj2OWIeZusu6bsuIQHxixQ3wU1TTWT5lAn9YHhGMCvIoz/UyE1C1hHcFrlo029xoNPI5afGwI2RswAE1N8lopgkY+Kivn4dVthdFE3XVLfOu7HuVZGGWza37cw+y8+2Tmc6KsltzQrg9X0H8jpmx5hRZqRqtsILTQAMgCXuYx+A5qqoRSth1j1yhwE1GYr7aLNzG7vy/1G9rKOiAcj2QeZ58bCs0+6gHF20Yri24MtLYZb2uND4CsXWDprg07JnW4LQKRguAIsbC93tMEAF+Ph8YYrDGyRW2qtIwv+DNpdPTUo3SxGxVgQEm1UAb3BrpxTKop2wwFOXkK+I6uniacy9PFCLwSHnWSDUubQDMweuQ3zjPDb9rq1vSZEGNdXYSLdiLPG6gTBAgjwQ3xMG+ENM5WwW0916ftMPee23H/16Y/6SB/fmSl8/+WatlB9k8ePIjHe8yYy9XBAVxD7hIqvdOCQkbWrsQxREMHLpioL5zqc1fWZKoT3iBtgystMeZ2X8orj8zSOdg+/OEJWV6dSDaUuiLXou/v2WsG9jcyvF/qg3mAx2ZjjpuJ48wLWrL7dZbNS4C3+vXWmDlNjIWFb8LaVr/DkCj8gEwtsWNxHuHCGu+W4BaO0J5K+orlSvURJFx+KEyIaSuagmJ/1KC4ozijI5+fqAkcvFjCbRi8SmofgPw0+vDDdyaNdDtzFq7sQw09uuzD7Vj45kwnvzQdlWY1sSrox4m/R4hVW6LEdXG/e6wuk1TaDbOm0pTi8zsy/A9EcdET+pp9eSyWQp8PGqxVCPbWOGSEPgTEU/Ykiiv3DpEJFsVtOOGA5kH6qY/oRFj4jj2IiMGjkY9zwgol4ILcEIxZBQsaGdTwcW3mIy/jRecp2XEYNlpr6f7jPYwyx8QJole8gZky4p+D3Nya7Cz1K0e59p5pIEQn3SuIxieIi9cYB/mDq4uobt8i8WdHUZjwyNqCCLNna3NVyBq4lTJDcI+mWP3resrxkdu6geO0q7u/vmYT5ITIN+xokJPgtDlxmOWf9jUFbqMo9Dv16wT/q27lGJxO6Ejt42+HEIhdzw+tBZaGvdrnb6hNNPibKKhrVPkhwIVyhockXrXHkJFGG/rM2fJRsuYSD8uCgh97kGrO9VT1Hpp+lGr9xJauzLbjYpyw5bpRx0Ucu2aCxr1fr/ZL3CqP562wBzUuF+3bkR/tVHd4nHW9fXkZ9Bf1r42uxpucZIkFIUp5EWWr6fEJE7b2Ss0wLAl0962Apea92PxxyXH4JhkjlhQJxFX4IEcCbPp/ZAoLXlkf6/XyROPk+i7pjsaSMuzp2TypNxWR79KaZVeEcUEUqxTY+a2kENpD2e5q6rPdcN//xotpKWol/V6QvQjRf066vjLzBqOqJtQIM/6YxabMCG1mnh7MtJuvgyig9sDPAFUDQfQq2WZyw8bwyO0Yrq9UI4KeKUWPtTiUa1xGN/zwwQhXm+yI10sH9+ol7tMGB6x2KDahYO14tvvKtXBLj/gKtN1/9GDGiU/D8IQ1P0JbbV+hXjJrLyF9HhUiHmWCGy++9qvaMNPg/obPPW557z7EBFo5I+z8IzgCpHvlicfTaRa2KCvcpAdUoOjdVg2do8Ez0Lob8tr5RKt/0b+bz1NTK9d8VX8AUsZEH9X41c61e+48A8hhs6N6sKUtaf+6a6vFs+ImEzNBMMcsqfHvuImCS3M6FhMH/GYIHsh7JSBBJWIqBpQQa9jvi7Gj2/dkVjhevzHhkngVl6waZ++H4xj/AY26Wnfzf69l2D3BqSM1UIFUKJlNMbj/eccz2/5wJZRhTj63uG1+1RwJA5+CPmOGUdBbxNH+L+Kaw1nPOKS8Mrunu0CGSXp44silppfsZAlAjhNgcvOGoQmUxofuSNV/ubnhvdyBR9LrUgyqvz/s4JSWUZIBa5FlpX6OhguuuHANp420PL0rW8uQDcYsuSxKXDFNhHXoKSnmlcqok2dgpmcKwBJqYpvP1tqRdp5Om1akc/JdwyBUikWBRZT8e/KyQT7eBzHNn6zN9P93EgiGxZgCkvY4RjTkqnA5CFtttfw0FKIvW66ThoFM9IgkkiKINNYVd4GPptha6RR1pnBGO1Qbo2pbj7SKAS/9pd/y7JhS6qxiS8QDy9tFH23bVLBTrBeOFgX9tvTwhAowmqDrtbQe80prx8kFqEan4b9zFCtgCBaFbExlUS/2kipGhHro0g4C/lCy++VkL2n5WmPrOWdU83AZ6SilzwMBo+j8/mAVwxZ7Z7W7PLdweFHCn4fARQ2ma1MkkeCz6A7UugAFB+RJ1WFKdvmyXxdUaOg63eUT5YgIMJKDAIrzGGTnbmLD97b1OX2IM8vB+dZr3FGbix1k8bvNgM9nUYDx0bPsZjrsceXmcl2hq4a7/C9UcApTV9eccIzTSKTBaIZkHlyHZdPnYQgaqWvK1vhalHN+YCHTLScVtLS/qoX9PyGjDzDyNBjis008bRwfnXojnXfmKB9l93y3tinfWTWBj5E3n5TYcam4yEsmEZta0DyqP1Khqwv5G2oBtKpeVAu/uJ265xU0cNDTL8rvEb5uP1kvF+oR3iqMIuw1pZ+oeITdeGJ2Fkfs3K+RiWwOyyCNKMi1sSVvYxqyKMv34iTIeHvW7bXw28PINJHOcmFCRIkTCBehIHhB+NdCmcyiUjHOsJsKg84ivDmkXriso+eUP8cGwnHwCHG6x6xSgxhf7Sy55T+iIYeE3DdOa8gjK7O1ba+5sdRQLUg/ncCNgT/q9RWX0uhx23isX6AvQCRwdwerYmfFLUJKygOAHf1WLN+R8daYxxgR6hoF76MYzvKem4Uc22KEq9Io8Qf0zeOi40WeljTQ6l6JnnBS3+Lq72+q9UtuNEG7sf427XJWMbYyiF7eEcPqy4ZGLcwYkuZl4Qj0okM663HzstAA8noCrQhsZzK4ixsOssEoOaH7DuzQetxytyj38+ZL+5f4zlBJ1A148Ar18yu/MgHvilxYb+OE9bzfgWIv5Ngko2At/X46wuiBmOpgH9djMIDYh7oDUB5h/5ZRzPET+AxGEhIXWtOeXJC/+hyGO2je9qO3BTt7yHvKro7i4Z+uldto/OeONooHoqFuuHCMnnvJWQqDM33M6PKD1+Nyuxwwz8gJTJBPCjHLrX4Z3Lcj2HHv0BNWfr2RNEexrPwhayc0ltKyE6RAhzdXUIHj6YG9Z1qRDDwb0sPtO6+60AhDZcOBlE1dZe1ToIlakYqLxMvv6sGr+c9VPgNXCTIThbcRoxizw7myrJR/BU79wWW5fJRLugpYfSB0tQdeLTIIRhDLIJH6T+B33eaw+5m3o/5yk5uRZjOcAPJNA86ll03khn/b6dKCcDggfECf0nunuxVfKHQ9qaEQazjBUTJSncQJNP+vTW15Yj0zbQLV9AFANqYfQ6OJreJ9YaDcDMmu5NK3za5R9kLZ5fskzJOr7f8ZKTK3bX2d32Jm3bk8gMeOUPlR2nhJklSajURKFQDEkqgR2GScyrNFOenFXdL17YyzmygqHu3LOxcFCL5jaUIWQ+z2gBsrwqZg1v2cE0fia3D2qXDh6Zvn38r49slSU3p6QY9uPL82Cf9VzXWSaeUlkkMAvzg1K9Dho18v2zb6KLvfy/PZVaPDII175VzEhBJkVJeFz+9uonyKf/Vl6byusvKD40mqcM9kHD6wzye4Yn5lCU1zlO30yY2U2zzksg8rtUULVjlt56mNzgtXSQEJFJUOZGbCgT1/ZJKX5l4cKCdxjfc8fYrXm/ojs5QZwf729BXj+NG/WXBV7DbnxZHf6yI6xT3JwVxPaJkaFj/dQIDYHBsYgsROsFNmag16EWaPstVs/gmPekCLKZqpOnqFXX7EHoQdV1M7/nRqt4wcpe+U1A64n+idNgxE4o6rb9A4frEbyd9HmhKZC8LZKFD28Lw8lodJGnZcZF6FbtNr/PEX/y4yVaEyusjuFXS3YRRDa4LHUbkqrdBa1EwUP432sY0YGdShtcmg6B/0mQCnPcXcxcTkkKKd5HF2Vsdg3aVy6H7vJOg8S2FmoxdcOi4+SK6fIfds2hXXx3iL/LaKwKD/90oOHmEd5BPm7m4JD4eouicbVtJUbbQfh6Uq30FsG8UfPTMuRkyZf+XnZjQNBWQV61WpGSggqnZ6SIcYWq99XPB9XIudyIVQ8hqYBwSxVaLAuPRjYn4njOIiM+BdIjYUzCHwghPcH/cES1aBeYt/ffrWBsAFvyD+h7trSCDeDkZagaOI9xM0Uc5+CkEU24o8M/2AhwTO0Rn6id5KqOyGKa6Bf6qFyy+FH41y312NoQ3LLHcF37j0sK0kQsXPb93vnD/H++aoVQ2Q+K4AFztty0DzqEn8b+4DTZam+kBT7vypF5B79QCCE1EwHNLxKyfvgu91XCMNgIFPgipwmRn5FO1c9rSIV41dCRkS7Q9lEV+IQRpqde3LVgO8vq3TE3F+rwWkBy0Hilk1Mzd08bHRHaoWtpNZqxvR2sEkJ2/czXUTqUTidd1RF+ZxHMVdil5Kf5E8OrZjB+WCLTlTCUIunmVB7FGmZIYIKr6Dg+4DmzrxfFmjpIAYfPqbeHpud+z8n3cZfVfUdn41fQkrPNCEKy/86PG0xMldU+WVRKilnztCNzGMvNjnkSsXyiVbVemJYey91qlX6FW5A9BoePi8HU8ucqQhmQiJAMqCEjttoesCaN3j2zr/k6BY4JlS29GbSI2qhb8ZtroFfYqamXM4zRxDAnpawgG+Ki8C3Y87jGlWngpvh0UxuOcN0LHdUmVhD6NM4vgIVxEkeRg01wBwtAFsYQoarXbvF4jSS4JJVz9PTHhff041h3e2LbSw11iiNkHA6LoWc7hWFftGvwkMee4lorV9uIKY9OGRdFVXLP1DYN+Np6EOmfjNLxd0QKr6huHWzpH2eyuHH0aDIiHdVmoGjrbyRuIvfPOrM5D1srXnumsiMZdf/OLtBACwBwgMeaErTRMWSBVL0fchTF6ZHAJ762MTLOjHjS3zmK4dy7TF8y54OVrfZLscfLcB726qCWbJuz6npdwBfHTF+PJN9MQ1E6Wjtv+MEwGVSizA1a59Bvkp1Ls1/cJtwOofpEd9oUJpQzNB/FiZdFtdu44M8Wd2ov0on06LbpAa97Rt8bSlDkrz0STu2esUK0I1W4OWp6ect3xWIzz5i38nvndUFCCpSGvozeT/JKGbFJBbaxQQzYJ6RdYUS7aENFNRfUjK4Hql+s6j44ew51hGlEPKE63FPTbCs5IbrL6maDwBb1tJmaXx/BF5AtjOTNoKZEHeF3HmnYjwerJFiMfCOBz1RIubsoD61mC0G3tBig8V0TtWPd3rr7Gl86n6d69jHixz5P4vf8Y370KrlQI09AcA8SXxgvrYa3kmg5S6hH241LKMfxkh/S26QTIMXV8xSIviZt+U77aIQI4tLNpuYBDSh1vFOceU0xdaqq2wMi+e4mCjImmYAp7MFauoEWxB6Y+5MaKWiuiL4tZjXWtg5PLAXPfNugGfSWAhPD1suVkbbLxy8p3kGVXUNZsAXCXhYh9iz7dIQx2xei/UjqQEVcNWv8KZsk25ibibyLsWhJ7HuiPPrq96Wovy05GtU9xVv8uxAsHBv3wmezsrtIiLw0BZ/hwgj7NlklUb+NWow4DetHfNQnlgar+HgVcM7Yk1NKWYJBjW/jgs3MrkCJl9ZCTvk0LqQvrxWDIN/pWSeZG1RE0gqmn6E9c1ohVuydTvKoa+VQeEaj4U/rzH3uIdp4iRIw6qDSKHI2s0fj0por/mGAU1uZfBPGYf0694OKTxplQn0C4Um9QIFbBhyWamyzNU81PZ+f3LX5rnPA5Ntw6jNSnnfHUavhsWmsr96EVuv0X85zPr3msqRPXCg/zIELqCY/LdCaFUj3yCO0SKlgp32hFhE6NfLWnKM0IZVsmWiYzn5C78aFoirggbeAgvXASWrSlUWkoz1ILU8ySMYb9LkBCPPhfhO8YlsxFaIzIudXXmE3puFz+17BP36lHd/poImwxzHAbHSYn6v6dMu6qwiAC4X5+4NgBVMydVIAMtGGI66k6zl93lD+5a5O70tt5oGC0a8rTPs735kNROBCfbBOri/2iZ4kCRE36g/XrArYvNfk2n2+e7nIJPQcuuqEUQEhshj73V5sZJRQhJBngkXPk37y2D4JhhXnviKY6psPiue8MIZILUcSsadCJVU5nw4Se5jUNmKNmErbUP9/lN7Qk7KbbB33FGUx4syEFmF5cvO+5WGbC0Fjzh6ZFtjpbiDG5fBIZmFGfuXgSo/FK7WCncgNEPOPdfA0tenhoYwpvgf4FS8W+qKBokJUSIqbz6c8A4kYoVpLv0wgPgjftLAZ+H6d58J3gFzWmloGjGQIQ7H0K4gdDWJDayhVOmINs5JxWcusAE6Z+4Cvsno9o+JfIgILI/WMkMAHK1QUOeDnphM372iM0csWf9jNKEj3EqbijNsCcRPsRN9AVdklusueG0WsGUtal73I11sEgaqPnOCxqc6IN5bhlX6pxaONiOmlcQQhcgqLy/bQdQfUWk5r28rlGTOhU7GR5SaJP9aZZPQiOYEbp9XIZ+QZ2ebSv6KG/LhsVmmxeg8YnBto9bNIb1RlNJj/3/JsVSZCcech48pWi5xutTau9YjroaziIKjhk9/0yviXntXYfkGxuRRhfO0StpgqGRhnRxSrNZ95II1Pw1EDkc0A87ifQiZgeMu9I8zvJ+jMkcNzIQnTg2DRLc41Rjp2g3y0jPbIOtDeuUy+GAJvAFMsm2ePV2Certmo6CgkHd1LFt0rVTspzgKzFaUXmBdY1+qV7T1wlX7p6e62dt+hXutfCWKtixBj3zxAsnCqQKyjJaCNT7V9jjXiXKZR8qjIEmdPDf6di/HPJ8Z34kLZLG6Esv+Qkic8lOIka+k1TiioWVBXCg2TEi11S/WRBZHO52B7Y4hf0ttCf6zie8G+uIXrSoieG2A4TsRuELPswchvDo6zjaZ1D56+eGI45uYhqakYDTMGFqbPb/NMlx2VyvgjWw1BNZvThsAXtGW7zlbWRxhbeUP12MAGmEdWhTh+FjwioB2RTDgnGCBDPD4I5iqqV0RafaGz+6JUlG1qfbCvsUYzPdGowW7N15+jwDwajvVL168qBUiE9W9YFSjyvDKJFDCIbhbEqDSMbvUcUS3DNgHw1QhHlLV/oMlqi50ehhWvy3gi9QolhOAlsA5HZJ8/s0kSneyJH3DzcbvsdsSC3StOOv1sNwfKTreG2m/duAjOiTGbtcT6Ipuc4+NMNW+Nt/vOsV4BhmAJ4aWQN3+2ObDAQPld2IwQ5/In5qmuOOKM2sdMTyAnxFKWETys2vAgPxHgoFVLQ0T5TkaL1ZUL7A3ToE21AJQpj5FuDkdNMklyBGlfNn6JTabhIlHfRn4qMPm039tdYm8bjutjrIlAGul7BDChw1VB9P6KALZU0LG7c3z+l5mco5o+tpy9KMOE/2oi6GWK6wMc7GA2Wk8bjUsA5EmE8euHPkf/rF3hUMi5YRy6we/az/r+TD0sVXIa4FcJeo5N4gp1Agjf0RU9LjnY2Zo7BZedIDqGS3AW7XclwnJ5OK1muxiBHnzLE4MRKY8xTnJBzO9pF51WZOKZolHjs+FviTdgWLf0tVSqxv/oKd0od6cApLS2K7O8rnLntStNPxpgXY6QdOU2HwkxM0X48Z7D67JMzzAsZ1xWjZoTTI5GfXfRT4Yt44iVRzeIt6++9lZ/zzmtRezefsdiyNlA3is0LtWDjLeOBKZ/gCgpuAgeh7NSJ/Fl8BKInHtZlHoR9sXXI9IYRUfLLZkQyoyz2gLpGHSXFwTyn5cQvHqarRiftXt04lChJ2Yrxtsox9gtHhzo2rElS3IPD69vfG7EEB57Cn0/dMltQ4NprNiCfGdFLvwYGbDjmSCOEgRSVDODejeEkzoh8j6jNOmi7U9OkB2ZNnUgcFhefL+AVpuv/tKmVA97iTQfJSy4qOqZaNV5DyE4QrtOcbYsS06DJdEPQUikibRSGys4bWMmwDUFp0HaEJx/TsaFXzvPl8SqY66TsyqvzL3Fopfy1+q2y/9x9aIi9FjjUq1iZKCfeqW4Q8XnHr/p0/w5hsFnt8QTVE+avSvleZLasVGoZjG1RCs2NJEkNly4HhCKj6z4dqIrMd7/TH52H0dhMwbbnXiOlSFutzsdVqOW7tGtUx6XW2qJo3TOb0ZHzNnZfdZ2MqU9LFAIpv/AL8Of6ZZQ9C1Ws4EDy3U2lC/EXfSpunbIpdAoOXEsjKltfMijraBZCNh4+nK+ENDAGFM3SHqjtKtmwtLmc8m/XCruVQATMlerrylIm6vEZcJTK9xh74bZIvq/fb3P5Oq039jyqVW9mY1dFFMVzvq9jl7C9ayhQolF3V/n/9GJxwRq5bUtJeNUuCLhXUXWY7afeAyXsq7DyJ6RwYcMZEcBFbf52ocYD+EMpQKnHKLfFpbxEJLPjIDbDRSWZzRjNkpskm6475eDakGn0OukV3ipoBP9+UX7Gr6JeGYAdlakgpUL3uWM7CtauCF1FfVMODLMsr75UCXuQSiiyJwtV6thmaMmT4Z80jCfYQcx6AiuX+lR3h9wl36byqd6MZ0pKeTQrA3YBbFH8V4NTQ3PpzMKFJy3XCxEkAGOjhdSD3KcR867JRM8O+SNPlyanCBlzl/kC5EKjoVzJAA6rT+dUpLfReFTJUhugstGkazodk9qCdrR/Gm/pYeS1BlQv1SzidNRfHqxu3x7Z7+lesywHuqBwI8ddPxauQ1ZGVq1SkqIR+s5dEA0sNzHL102GpRXCQecj46KxeyVnon69UfFRk7BnMJqeO4ScnRpDcn6HsEL4qEnSGkLVijQH/CrwCCGLQAmTF/FEN93Jul8mYffK/E4PDAa2wRgBkD0+IJeme3d10hRo25+GCqhdH9eY00msyP1ni75mFFLJWvPrz3/J2nyzwurvC8uWMjG7SL5WtgOc7mApmyOA01cBSE9phCtRojbQMG7RajwtD+ZkR/fYWsZgRz+RQh0q2fG892BTSRpCJ9hHp2v97Hn53uN+ZSvnkmLKVfExxz98pY4Niyxf6MzktxYc8gc94+3bKDGVYbjBb+Gp9vp7WjWQFfvRrnE+ScPRSPOtirBBdGSzLWlj2vwBKUSX3a6lOgJrlzZU3bt9Be01Lxw1l8RxutoGngapoDSgu6HYL0GWdP4ojZqpmjTGVQU5fW1yhE92x+GCZgVQd+hCM53gINP9cPHbfyBn/ZCSNaaGwnj3tOC+YC4eDQcAbr52tB78y7GiaQrguAfF55QYuTOcyxtUQj856u4N6OsxL6B4kszgx23oCVYYuTcfE/bbJpJWrDZwgInaS2uLQepQkTLa4roX2vl3z1Jdv45JrzgeE57EhnNI8OuuGA9VSuHXjc2yYvqGQO0WcYD6Gqinu2yPbZ6P1+8+fjLG7j5ZtH4/gkVj61LFqp5s2y5ZWspJYNGa6JozeE6nyffwZ0X7G8CTJ+eysqtzc7q5MHWiX0EnTg4dyLXrP5Eey+9A1MxU8vLrmNG6KMrj9TRMLWHEDXZ1djg6NLJerg1Cajrsyr1b+friDwsYk+xxSh7la0dgFVisL0J33R+h3oA+9KmKuuNmz1GAQQu3ja4cvwqb+I8Qnz30Jye7TkHAl3Ef+c8JuARlvn+l9EFdDj89w95nB8okYDbXTjy+pHXbtHcTE0WOiak38ITHSQfcveU/SEgqHlBRvjnW7SbfNXOo4F+wYJKlhO3b9Rd6NDTs9B0MYZd1n3ebkG4subIkfsC09gtCfYTuw4Nod9eEtbTSWY1zYQ3lQdjsWPMnc6/ebzmG8XXHWzEXDILLVdUoBXImiKoc3mk1jGMnlj2sFH0ybZa8nSHXtw/KQg+PLY9qsmnGaeAw6FEs9pmLEl3Ms/TjQojRTRgHbO9kVOczu7Jpk6wWvgozNU/WsipkhLxAlgMLiCMhkYsYG12cbQQoBkZmLCIC7wec6ua6xyWDadpjl+1s2mApu0d3DwpytmzDCgWQxquYNQFiQOK9WqO216RzIpKeHs46cxzSUVHiGiZeLcvn+7IvKQ8+jURQmwyW9wgZ/g647JW5ESSpfHSGjmHrsEuKk1hA2X269Iz9yf91r9fqogn2Bd5uklDBCIzpWqc9iiGCZZK5hPHpO7qTsvv8h0BEFyvtKE8mC5kWA8M34+24UfuSB5ovr+kLwS2ZiW4r+Oupd8jURb4ZTbkZzTMG+Qtywcz3+BquXz35kJM6YngDaWUiM1o+049jvuE6d8dZDy2oykHnYERVxplLls4jqG9OcQRbACfeqeBVZBFlktgF6/Ssa1M012xpsfaxJ13fKpvXNXYTwR7G2qafd7xYN2CQjZ+IADVPYXTtii+m1ojuof4LCeo65RUQbF0Gx6WE6Qe6ybeAjUmzePdujvbwINEc+whGeO8l+8EXRn50vUroRxQZuvy8GwuYnCnSt+4l7+qxzHATPO9dIH9hHRb8bwbm381vDMEsmBTDagwCTuKVCKcF34RjKucoXQmvc1UENzRa+h6+kYARP/RyBRzvekxwYRcJvaMQq92ehjJJ6klzooBy4WFkLRDiGoZ0gAvp8UK08Ch4WnSdmAEX4HKqNF7vVzXMzKXzjg7EhEYXJA662wSWp9rlaMH6pteJKmfKD5F0WtHgW4/7g0T1jQqIU+kVoV/s0F7NUjaSA5SktNR9ineLWVry41Qv01gcBMVvqtelZhGoag3Ul30F9H3FsnW9jdkdeVCo0qzcsL1PkKhAOQLso16GGPNhBlNkfnppo6a+dcHT2arKniSTfmlEC2YEADmsNZ6yImWesj9c8n+x9p25n/dRn1XiQOauGfC4z/+myqAlh6ouf4UHlZ3kuEB3j805apOvFNZy7BrRnzgvfIoHCEhbWkd4Db97s7X2cUSL4Cu3FscGOQe0q7VLULFtIpKVf6yHXwzdKFCuDu4zPH2wFK5tgzZ8dLsxJkjMP2XI/SltRfd3FLPqRVFwfGG+Cf5yANhVmVg6kNTOfOvpLk76nNpmIfPlMddu40TTDTcrOOefQMaFWDWmk0x+vzbZjFpBLCEujalheS4FpLy5m6IK/avxcB4kr3xZ+31YsQPldB97oAJqeQgaeOdHqNXMG1C22IHh/o9yfxdQnDierxd8x+2mGOVf4TSzLBH6ij2Xy9oI4WZh1TB4SjZ63/3humzQIKOHJPqLv2XUiSrQe7CUhtrrbla2p/oyXMsBnRLCxe3PDXhSAoH2EClRJu7FmC4W1WNcBm+Zqxkq8X9JHJ/Az+Tq5eO0ar+IQuYKnWFqiJ7oh60hOw/pf34v5/Jq+hIDRgYnn6xz4Rw0dkRRzybNq+VEUbRpNPQFo5QVO5JJTwpFaW9qwbAndkmkBYKY4wL7bgQjDENDo1B4qsrsf0dRfExzRMXVZW0tufTxfp+7NqJ5tfvBBLmoBBu40KfnYfxDtzMZSI23V6edUK+/To/KK6pJg1scgjeWYmolz4h5OQ323dwMSjQGewk+8QiHgsuBTn6LlE/YEAAio8zSkxhEpXMPY25JX1IMfQFeNmQlNSWsoH7L3m9xgLjOFkXgS02YZvwBXdk3wYyeUgvm3mBRGU6TOZLlp8/3b5N4kRVQx1eJIo7YMdfQUrn60tWMsC8B097nRM35xl6mgZUAcWz7P9h4aFcjy5kWDPgjdI+BTc4yKyETDNuAEuuwG2SLXhwMwcBB2iqbb7XKedhqKoKMkM0BlqTotGBDOt62/15jLaBFqfPRMR2hC/UvCjHBG80ua8488G34VCfpB4e/cR4KY5hYOon2n67WqJ+9lnVb5tcs11Wnqf8HqfjvzKgewp1lNwTEIfIwf52v4vXEq0uBPnzstiaTeEiDSeYXd6RZBq8/nT+v1fj61XFJN9nLtYVP1OV75aXlgLNzJoCFA/UmoGBnB/1VuQzRBFaxr/SDb0PCdYWFYXViN3DLFT7MaNw4meQJ1PH640r5sBqlBB8jZPoC245M01UtxY29VMKe9y1nZ1Gd0iFqY/a4KBPCHohMsdumZSTH5VEo31ISC1Izmm/MWqOFGPx/06TGcuTo7SWXwiJN6ZoXOdagk7aXFyJsyT0gc2C0zTZGN17goC9Ux+dwcViikDd/cwatiLFSIBX7ZHKm+AwXu83cQW6yy9XUsUgMP01UHWLrjfFdsdhBrnW1+7oNjilm3VZ2so+4MvoJImqvzrpXnCxTsIEas6OR8Yw5KoULJFFv98I3/NPNS53g37AZS+BGnUBGC5Z5w8Vc5tFrlvr+9vP37F6NtcoDCicukx0YVjpVahO6RzmKeF8kB9Ill2nWGRiAH+gB4CCW5KHxo80fM4/Z25FQIaoo4DyevBbXZE+tOBheVDuG5b8GgtYg1ewPg+NMxEx9Phqis4/NgTZj0ny1efr/Z1nmEAPtnnG9zToTz6tumwRgNHBQUVhTUyR55NjZD/cbW/1AUfYbm4Ss4/bPG4g5U984jwL5Agp3EsDzeis+riUC+4OaIY1AcQeM8OgpwlRhGjwtTcna2k2mpqBANOWox5cUH0Fgtt06ZDiutcmZJlcrqzhaVhD4G1EhueyNniJRPhd0nZrG1641bf0X5XjK3hW8Rneu1CDlalbY3LsH+URn20GaGdTTTzr8kSP5mq3Eu0kR/mi3GBBa525tk9WythUq1wn3ZzmctMv2gDiTZADbwBH7nCO2nGwSciZmJB2UDY/SR1EQB4XHjnZVxJy9nBhXHzUMvV5WF7waj5IWUYl7ijkjzA7s0yOgyPiYrqo/J2it/frE6leRseBuEybVNCvh6hoaUkRE9lu2QZE0uh3QS6orOaeb2IOZok9/92CiJ6aG5gkuzMPb7dQPxZoip0YnVnUFlEdkJZrxUEd1W8M81UysI3sBl+aRHuKb+lKbURPx+S0Dw+E7QgTlCoca8TdXfWGow0Ll9xWhXtTLKtfCu12L3QIppPY8mX8mpSzcMVYb8S/yus7cDzHK8WGFDGY0tQkx5j4ndIzBNOdGTFid+vdFASGEHU0ktRWlMydbTA9hU3PDCxVAEtf7bPJGN4eEAgwtMtsdbGPFZxNZFfKj5QmjKiQCokKgLq4ZVmrkiu6Pt1xeNR8beKkSG1OeQOirC3jLcsW1usnzFzNdsfvyo9NiMLawj6ZRvqX+P9v5qlDj0aVSsdGp1Cn96wffhwCod7CiDEszwaxUDa9iqwqCyNMmRw114iyFKjzKXJg4ND/MhyuoCJ/CIhGnGudZGy+2xqTTThxv9SRIvar5YioaaaCYK47WnWt2yfAzkrInS1ZZi2mREzJBYOts8GmTqk/o3/nBNoww1FRE4VBCUyRsxIty6ezHsNY9l8TsmHLppUIpiX12CwbBDp9x2baSdoric3e1bo8CE1JdNgt9M5fbN40Xzz1P/BnK+2JmXtUz+ns3p1+0NVc6t9IAnkMxEaqf68hEI4eZ5ny/zPV9oWSaSoTCVrazg5xppYaHaGRofO3/U0gpNcEkk5CAzMz9S0Nl6jHZv/w/v1LCjzA3MMdzxhkmyR9elRiL53N0zvqIEU02xMSRX87o39CjyFw7WNwfpy/q2l2iRCZazf3kCBra6CyUPsKva4fdlsFm6OgjdM90GX/um4OQJ0ZE0RRd1j3AXrnGPiCwBv1uu9jvUwUh202jD5iM/1jtWE4o9kpwkYHmo1DcGvYNWlW+S731Ably3x7mgohG89vLR1dsUK5Sy4MsNLwYC/flXoXw7AIMvPoK2NFQGM7cs6/VrTwQgzHQa5GcD2jvy6/rilt7Z52d9MvgL5ugemBz6gVtk7fuBDP2X6FZbcSjJ95KkQ5hwlrJNmZzmoGw6gT/yD7L08nFsLgC1D+dG8BD490jURwBnFe3NouSqJfQ5jroGsEond6/s6aimYLhKyP/TPpwwXiaXIah0Af1S4muTTeGXvFeSx7b0brudruhwPwfpsdlr6FZ0RnX/50RLURKSYjVzZtB9K/Mjr4yRu/c+ynm+9WptGXZe2a4oS29oE9x+ahUi70xEvw99EhvZaJHWYlmcM3/xbtLkhtqUEzXIEuQhGCp7A2p4SwuVys9I/T1ElLX+nrLxs4gWf6/RFxRW0BxUR/8VOxy4lT5JyrS/1GpvKOfC3wpmTsg5P+i/fq9XMx7uhWsQxQ96gSOgDfkkvV85uGe41TzSEVso4oU+mgrIr+pM9uKtP1vvt3hL6uWj/AuZpjKLdsWi+Pyl+++zuOPpEUMTUTlXibdb22ohdKIKuwbELpogTcLTZrva/DZ8F/w7GgPoyp531U2vy2RFYLL/wE078ZwUW/34lYBqou0IK+LwuyNDoXKvNxN1X8JQloa7qKtHBRz/YGPPULpTnMtT/FzuAkOORm7KNtU2KsqR6nhMvX82dTSVpWSBweKLZALj6jlcdjW7c2stynBo6/hmH6LG2K4nKS91yGg5bEO/Oh+0LWnpa1Hh9rHieRGnMaqqyz9ihWsCC0BDqeUWcqeWhnK8/4q6P3iYDNSellUPRdFIoul0OzPeHkHz09T9NPMpDp/oG4kYAg1lX/Lx5nklTMoAnpZJgxAjoX1I6gGbQOYyTsX20XRhaWuQH+KmPiEkf/QBue34HCuXirJQkdW1Xm+5nDYMugCWPo41rH6GKNjU81SlO1lD/AYPmFTaRxH0HreXdPGwIt4BIAwLOydlpqMofjFbxM5tLd2zfFoHbkyDitFwpdsizJK6BKeNYEKnyjnsHsWk8u25iZvbVeLk+Nh/+/ny5x3FCNiHuUZTIk8sIdUV1v5G+9WHlLl/9rXBlEcUqMhq/c+SF3uYy70UBIX43lCK2JWjiRH53ayu6lhHUHISAF8BVSmx6xrgUdkZhIRV1/BcqzV1U6Ub77qaBhtvnNo+aaHOaWr6ocaHxtn1pJUaSIDW+L4vKG4dVpzHknhAyBqFIfFhTm85zaOv5AMh3gMauqUJmfe0nBQf/Lmo+t5vC26NYZuH22XiCBvPRRJsz/dBN55JnpMIfpktWB7iy3tEYEXC2fxL/sCwgV+nroQaToXtDengxVb0K1UeRP0vytD88+eAycQ71aE9poH6GDuEHeQc6dgpzAZeQXAAGcyCcPJKN+z+OET74/1ViJj6ymDZ6PJbq0rjPb/aJUzXhOlVUUibd0Yi/aGiR7TZrQTVNa8/A/yA24lEGZVFTamJlvdhvILjpy+N5iFvmmSlUmQqZBMyeH/x3Z0AD37OYHlpwO4zzuoRMBLU/Pgr9bF67kxgypERVOp4MltvDTbM4TCm69bGcYq+wAiHhqKVxSzYtdFyBMwnWzT9yyQXCeu6w826xGnB2My9WOsIg05Z1lu3dI4WVx91vqxqhGy6LMOd0pt9E2Rok0uC4n/AXdgYVpXDa4V7Z+dx8NSXTDTdKDjjM/3T9X49W7AnTzDA9s/aP3lAu7zSz2wf7Adu4eOdrR1DvUkkUToyWxDCyYZG/5ErBcFjZolvqSdgKjH9Wc10QAoRndTgEKTcXqBp4NlVoWuz4HSGBal2/oLkm1rHYcKBHYA/7n+4AcoVMi9mBrusX5KnRpzS4RCIn3GxJygSAteAlIrrRsgFrC3H/5qnmIsjgiItKPU3yemA2hJffdEjUV87MySADtI+OnPJeIxead7oHmSFS2p0vHb8NMDmgBV8eYNsLXeQW4wvcA2Ca5IU4JgfHGOAN5y1FgrP1ipiBPONrbojJaatRQRV6sYLmvpyFEB/T3MCjYc1wBTy3cvmc7nw98cCCyly5xm5LrJe5hi7emlrY2I4Xk3d/e536jwecHHK+mQ3zWlKW9oK+dhLK2CulZwiVQg1LDEUMfzLAnIJmVQszG1HSpKBNepib/FKD8xV3NnqsTCfVqdYEK1SAJPxfdYz7ghwaA5it8dT6SpzfRMUTe7l3jxM3LZui9iyNDQLXUnldz1SSkc5DpJCqqUMlHJWJir9z8Hts7iU3HhztKfe0AnJBFSGraIaeRAjQQYMlZ5fuYXSH8E9hSW22o8Ve0FG5Gasq+dBbBiHP4EZxc4bKauf7CocU5LHRfR1neg4DqFAZfql0Eoe3RBx47TrSz1tmE0dUxJ6qCsttaMkJhPt7Cc1GULl+ztpRDaNKSNwB2+/ETGX/d/RMCczs8ohJsIDe51yKvzlqMiqpcSVSSLcGzR3EkU3n1RWD4OdVgpMqcNyJy54erZIuhK8aOUXnyDKSz6Rbk5VG2nxj7tm8NXB71Zn6GIEWHKc3r0gF265vZacEEQ2YTEApYe1XjQTIx179q0rExHJcXnEELpiWhtHXnAPYWwS1Coe0eHYcoNBG4Lb7saB2y9XNvBcI4dT3IrdU4seFot0S+57oJdS75PsOzeErc8JhpBYnLqgyxzco+KGMIwH63yvQNZRL+4yox3TKKmHhMGF/ea4iAIYC+4QcqK9Vk95VHV7JJ6ixhnPJk+nzskyY3yv+SNJhizfvne6XayGwYUtsIg3tE+igDM8bqO46cRzLFON9P8dRBswlmkTIT3YxtfjNeCZ4PCkHSIK/Jh7nX76KokwszqJWNQ9lFBl/YO5VTldwbEb5/ZFLaOcuZ3Y3hVsiBDD8KC/frZRVZ++7cPDuM7xKkvK05GwvBkOP5SFwLKEqguYB6Tj4SkeYJfGPDrs9jlMQadzawJuW8ttdAOPn/3Da8EV4hgL7vuJqStycOxfeWBe5Br/OadxFagU1GwFeTG6uxUgHrRXX5BxhfaSS5Zy/I6uO79FqOb0QNAwz/XhXZkSVdCtm59bHfINtnU36OvemZfnh+MOyfTV158hOAoW205UmCMDmLPN2TknoyFO2VQyW4sZGwASB7x2BAFdHiE1XIIiRaO/NZR5PKzoCDNgoUMUqKA0C9Rmo1khgDuWnFBimd9AEgVIYwalBIdDKmFwmCfsRAVRDyMGywvTefUhgtOONzpkhu/M8Fzd/VjyGY5tk9mEELGpGAQWEyvho32XJjKZE/jJ/sbeZH4DHliVBjmN0pfCLHhhjq+adtkUYpRFG4WOI8Sv9yDgxx+5kbsh/Jpb3mlqJkpfIdWH3VKudpIeIMqeURWjBhbEIgtI7a8jnE309dbX53aWiJRc9rFcqgDb/EzU8eV3y2yJ4UOSijuJAEmWD3bRDmVYwbb4CYAj6AgtpjZYGkgGil0E1vsZ/EjcW8TzH7/qQr1wL3f7pK/CDYwmDvj/gNtGikUQfz1GRhzBX9Z8QT8pMxpKDXlf9TG56qbGPNy/GWp2DXoEcGrvBuer4DB85lXn/rOftaHSTRmE+77MqKbeOMfMDNPwm4E4izWWahAK4NL2i+Bnm6l9R8S+nl8voT2g1SctjLvBW8uj1QCcmeGGaKOQMu9VJexWG4aROyOAJEychivtI42NKIczh2eOW+BIv48eU4t2icd4e9F5S/BBiMybTIAd0yzjKlcCq2QFUS0BelSfMlXkFVI24FJfkjwDV6fPABPRHmvCiit5CeRjaDy5Ow+sU1YWgIRfNuicLghWPcPyGGxVhemjpOQMGZOI1MgSuMAtQ2EAKsKfxFF2ztxQ2qHAhFu0tzMfkOLb3AWR5r0p1I19p4KvXBuXcXeMPmVpN6Wbi+5LyaDnZob54LKUmU0CnI7jv/aiOJC4UdbMMy8WdlOiq/vRHP3sSchdXyF3wVMJcj7uMMVpDkD1HiGK/9biaIZndz99DJL1vyw7LJ7oNkMbLXctR+hXsuJ/s3j+f7LheTCPHtwpDiHMY6Q3PtxuNQ2F8DrflTFGBOzO+vxf4dl4vaYW/GavHu2dYWO+StSFCVemnVC9mLHbzrNalU0iS3fSYAedg1dLh7/neW2MwO/dmPBJ2bVThWxy0ORCxK6Nn9DIyY1sZJoy5h1NHP6OFPjT/a13w2QiQIVYQUCdnfzwsAO6wisE1bVLAnkgNxCzcVD8Ed8BF4ZiV/Dl9G/zDt8waI2+JL9pC+NY9LcGxElxSQgBJmSnPHjCALM6vG937MfzdEXdEmHLkdmaLmgyFkrtocKteZ7i+lxOOkNYo40Xp4Kv4O4bnLqz6e7oQ6G26m23MEBATFbTbYHupacsZ5zc6UlAsH4n/Fl2V2Grh5r0LhzJrOyiNyQOQd9UzI8q738nF3Wr+YxrWjYN4nusA7w/SYS0KypQa4kl79KMr00UfFhF+n0R1X2tzOX1iSLd1eOYi/YWqbJIdWzFxpv1KvW5XHTfFGjQgKRU+sAkJ6gwSY4SGXzAY+HCmS+mwp1IryJ6Qy6vaax6FAw0XNGgIgDLfFzWba3clHOKiUTPsDfCzKdaEFwCaQxJakm2vwOSNp85Tf1in/sr/3oALsmIAWpC/s/dYR/uNbSoRcX9Otln1/GfziI+Vn1ovcHQFzbWntWmNzeUyWLFz+HVLSnR1PF1m6WJt+OX0WjSqHhtoAEZACVwjDJHKgQXHuJXKkgqcSSSpyIiV9QCI2cFdz2/Pjtbof2ToPPGhKW7HVUb/ifl3zyMCEPhXzQlFL7L+XvYHNsIxxld6Gw1d185UkMm+aMbqgMWIcuKvdIZd/u61fv4YYfjkhbvWYVuypGLczhB5c4N5gJIwD1gtLo9+RV435y2j01x4RbZEIahNQkMuALSyP2g9ftmHiajNBCG4uHmR87cfKsq899do5qnAKYqOnTMCZU5SndlMXy+5jmO5pgMtYMkusJCtJuaAKd72XcDsNgOo5Kdwhy+8nMvguFgCjq/BTi8H+x4AsrJl7MdWQaPEIoWPC7hOwV9PopBUTzuBrTaamv3lV1YfbyP83poMtGVp8HaiLOCBdGvl+pvXVBLfvkgI+pTx5Viqcb2uFlC36VhbvMipVCsARxpHLzq3T7aez35vVwOc6WPD7RosEM+yYy1FxUQc1X/DMNTeRL2FRbRysfkwNwOjDufQ6/u3vgsR6ij6tDYrykMjR5f+EvrA9us1je9znVCEM8AN5Pd7xYsDFtSuBN9vR0OhSJ2t22gTwY7jxN3UzfuaqITEgAFzyHApefYcncaBtpIFl8CeG6PQA44KDfbD/CaoDBrCocP+jxbt15rjasl3R7p3b+S0oLuY1j+OzYPpaz2PFaQf2Elvg7ClWx8IlDHng72RS0dNZ4IFUh7b7/xS6Ci1boFZ1TNTi5h/ikbOGG0byorTXcWdLIDdiBn8Q0f+Jo4dDF8HrpVH+6qFE90eXhvN0YQ1qe77vt72Y3qIRjuzsZo7e8aivrykjodkJkunUvU8JRXDWr5aRutH3twSIPhLJRLiPSOms6bTm1QPuK4tufS9qLgZxNzxFsMY0DsItC+dybSnDXWDWmS2odXZw0ZKbduboPIimjG97mfLJ5eWzHWCpFwj+aNPudXQ+fkxcB2MkEyIxHRa6YE3mVGxDm4nQoW4m4OKdcmt2t9yvbLg6Mh/ZWKV6g+/Ds36oNIEWvTLgLTBSkY+U2g9qaI3Bsn0vTA2uMbo3vbQVoXKXNGCWzNiREw2Pgx4uZ0IPDxS76JQBVqNjosl966p0wWwIq2BUz45AgqqS8EcEC3lJLxtOUf0SekWUs8VBqE+xP4XIDZvMYYk0R5prukDFPjbP+HEccnNm1of3DuERVCXhFO6SpG5RGelE485ozAgxWRnnUl79tOEB1jK4btUzKmOpl+qp/BM904tuCyEKkTGf3eB8PMb8Ya+2T3JUgHf/aUHd/0mG+1C474EUPMOt/hpzK5jVI6PKI3iT9hEdhBXGwrUAj7NEjVp14n1Uqd2mhOYmQkiPe8Z1+BWZLldMaM/RiuCL5eOxwyF3GeJYfpvaUNaNgbo93GDDVGzaKh4562GYeI1IlXt5FjSK7RH88Qt2VQ0q4ncRrdY/FHcfylWwU26SSJ+z1SMPxq79TUBd80nG88ZYXSZmG5MYYF1ljwf/mL828BEu45EuHw/xizGiKiM0H0bf4b6kUNaa+qDOX4Ebm4Td0RzfZE4JuGxcvu/3N+TItuwaK0XKRdw0uklbxBA8jwG7QcncUAv413xWBoBCHXAaU9QHazTbWkKE9R0d0hwzS5OyQCvIfvcb4Wm/eZZGxWW8dEpzGdTIGLwVxW3Kf8xaI4q16NfYHbdv6FkxHexOf64ix+Nmr+Ttcok4GRdCwocyJH8LWzBp3di4+PRfwChx/jNaGLsTuBnkdU00HFu0I9hMfWBhEvIqMH5ehkf/2gl3zxAAeiHOckOPzQbzY/sAYQ76qOBhBOJjQ82p4viRvNmLzwTulTjqfYW521k/8REAWbQmHPDx0VuXJDMSYRwho57A674EuwQrzyxOrKuFt9yMpunbJLZVGbJXsS92IViMml3rFaWaSWUkrEX9y3iVeg3dC4j8FXw0Ia0qyjDsSY685+9ym9CLeZ4lTiQvPNSdxt3ac+zSZ0A/cQaZ/dQD8ZP0Ez/uWiDYFTZA/InSZ01J3kUuYNcplA8HD6Ro/cjuBfxyT1bc5gvI31wyNtAIctzp2WNVbqCGrVJFyNW535bOqzTZx65R1yGc0QLkfkFq9Uml+OzX865xz3iy0yBzB0E51TvCWuDnRFXelSGDqCAPtIg+qelGK1uiXr2/bCE+ZhZyot7tsYUgEcxsvpy96TzncmQpNviowO41KWVrvqquPMnWypD/Qq0LN9w95xKnRCIUdJCEBpyoGLQaHLz7ZSB37bTmDTEwseB5y35PxTAqXbuWbgYjhM98X03yJ1kA4hW4Nz+bElwNM0SN4ftCJuPNX/WadSUGASlHKQMn6OO6QH4L6+GQh3fK4mhPsjgjGwbO+Kc4Ku9wt0fqQ0PCYjRdC2XTncwkk3oamBl046qFO2scl64PcsFbpGolEKlVdNWfr4waQmDgXnaV2k4NyGxBzB9l+ylPg5pwgFnyVRli5t4qnkFUEod12h2Dr21HsnQvitjQbigRSMdb6c1GIz2vScePwUsbQcHg0ga1NH5uY7LiFas6CqLzwIIom0NlLVKCLmFRrkce3DOi9vIo+q8JjBFpcCCWEw0Getv0YA2MIUkgfg2gK/HpoGea2g4FvEavhpUTtG+y6zVVs70PT1LeGm3kMu369GAo9zFd3xzv99Fto7MQYrW0c1bMnQQy5UYcGa7S/fyoac2SJsoy77U89RStdWVIT8ozbkbzgIlfzZ5aGUqM3H2QLOZJJS4pAKD7gyzpibchevVFXwKWISOF8LWl7WBYIQ6onOFxVL8mMRFheJudLfc38rDecrHTa3fQWPsdN4ALCzThmcWzo+gslGvc9qwvoSmoJvxukBv7adULYXiI5nPHP5KifoJhc6EaHzrB74FPfjr2Yp7TjEx3eo0cygiq1ecmf/e34grqxbgSZgE88APwzsvbli2tGwm3Hxq5ZFoJd5CxY31zb2iRbrOYPMhK6A8bX4Yy+hSMoSGhyAsczhFIIGZfXsJNF48a0N17KrK7ELr8UAsFP8rvfQ8kKc6shpUJcJXqW1j7J3xDXml4e99J/yrD0VzDx8vnc+JYriuevCkCMiriz5S2acw4Mqtq+xKIUMnu4Nq+aBbDlr742gy4ojY87zHAFwE3UU4d0eGp6lAE/q4/1+wt3MzKzYw5HX49svF5X8Ac83In1/mP4D1t13ZEtjckWwsf8z6T1kRSLvanJnSs9FCujSSAzOEmSiteG8e7zPgm6vT8Qi+AcHA7RJl8V0OTPIylKrTk0ky7uWFh2wzSF/9R8Z5sBoALaiyxVV81qM9gu/AWCTJB24VsLRdwAMFpxr725B2qhokuVtyxSASoLsJXlkCaTAi4kR+H+Exz3Gt5N0NXR9sAgtQB7hBM/XF+PeFY5NfXqfaKDrLQE7ScQLfYceUlAEeN5uEPATZkpNfwMEKjx3kUKtKzJP4s3A/XS/QgrnZb4wvQcx6Sd2M72lbOovoOXB02bwJ9G2nsYXsY4AgqFCXEiXcKkDvb297gB4X6NCN761EtBbBf+ocvoKJaUttk1QdiG2CYbwrPz0mxZjSo1Gp+kqtkdPYhbdWCpBNJRhfNNo8iLWIcJczWeUiHkbpw//wC6r8OZhnXmunXxDxsESdfL81MBRnaVltKckPjiZBltsHAEkQx3e5NZ3Jt+XKAOb8nHwlnCDRHJyfIvVIiThh8TLtLC2Sbp6K6FpqYoGFGa0tmAJdsQA2oTEwjATJ3DlstWw5U96p6CTpRCt5ytCmnEpRLupCtr1ajBRR/PPFlQyUcb1QlnYn51aOafAaFQhAq8f1o0DIkUMkCQhO3m9BDzQS7MOTZYDMadeZzY79WipYvvs+NPP6QCY165ccfizBsyGONtVjERJ5/93wrbApkyUVpLx72vyKcvU5oqPrrk89Myy+F3QA2g6ssQMHpCpIdJz1d3Sng7KZTokuEMe6TuEq9Ix4ujdGh13/+LqknYKDo8BD7FVd3oiCDNz4ToinY7yX1m9Lf1Q/bzkgnR1agy6ge11moBv+5JSQAWTqKCQRlDbvpaJAAUzJr7JydcIupVPu0wh2TwwCodTfW2MpQWUSAdcTtZ/QMHQ4NeMTh4mjg1kmjW01QpUCvqHFBtjfz8HhcB4kslxduAhWtR7STNwJ7WYfv6L3lB0OWwQd/19HwviktITy1OsGs9byfw9XXDQ5nOmq62x1B+u7cwUkgHZAfMwxONtbtNeKauTRWm4GoaW5iQwjLkGI5+Ig0dSMwtipNcgbV+HfeZhNbXpWJv6gLjju22Z+wRZ92Ij2sWvPV2cd8ht0DzKiKQgUNwREiL08o95O7cN6wInj8gIC1wnjgZ5r4X9Fmxo65KnnLHDIROdrenu6tNmLjtKWGEnM/LPnXCqHQ7Q3iqapEXpR2F8HRHQhraYjqwTzAhd6wQbZJy83JBXpctqmkUQKFWFtbRcvKBlJK0MfdFTyQpmOqDjAkg610NdNqHZmQz+BuxBN7svZcbI2jPnjHYOET+tCQqEB8IxsNVEMI8VDUofvPpNqdP81TrIIrkiyZg7t/b+/x3/Bnx7lE/ZNRBE7m73iaxBwNxFxq3WamL8wDp+KBRZOpSB5KmYUVeyqJRup3zu9YyonFN1E0kCETXdnjjFsyqg/8vWCUEVtTA8CNImjAxdsQVWyDpAUY8BCDYmGPjOyJznm8uQOI5EAQFWis1PUvf07Du5U2jGNiambZ1PG5kObMm7NjJ0ygHthn50MuBPczW/KHAv12O86qNmwzHnpS5ecHxBRufZnOBtxvUBW1hGjwsM0XM9Nti9GUTcr3mlc6Jfkz2zhXhjGOTJWG1Nmh/22xq5k3GCsG53tf5JUa1T09hMaVYVrxxhM7yfLTgal1XMIKsM/6WFkufQt4iIS3gzxF5sFuYltxBlSjF6tvSHrzvmhWgLB9pGorTXNGGAZEkU8L3vNSa4LyNK0GVkzkq3dHSjwnlcpUO0OsQg9SxlsxOGG/ouvFVBIuartY9EEZYl8xtcIbQ+62u9DWPV0hq/1LzyIFAgjj6aupinmfW55IrTd+gOOuVRyWNfG/8PwrifWuTG988t1d3rUoCQE1O33+5/jGyqalDz+3qs+Vk3pAvMmve14MtgDlz4Y8dKwwT+mYYnFClDDnv49+cTO3CXjlgOlfUlCjMuVnmpSqakAba/cbZhECIg5qJfepD7Zvi93IvdADdT8TXXv2MAz8bhi/QlVHQ6K+8kDN7JCgGWdHZpbIN9VJVyCEdu0xHZ6MOFL8eizBt48QpSx2uuiy1d04BftLhYzv35luKApKAewuBNx9DxQ59rG1s1AZkAIJXQLLJvwK8sOENYCLmNzoLR6mPUuHOAXsDkifAo2HOMf/emZfNanIj0F2dOFnw7iVUzz3tpkedZJ8vp7/ybJ7lfO+BG8TdeocBhkRoGDdpr7WBHW3CB8yi7V0cLQoL8QT31TkF5qH/VupwuERlIbj5iejiYNqWzGd666ofWqbRRvewjKactgdxbNhMH9aS1YiFrhcDh7QnQQ268JpfeWVqzDZUz1jqjxYs25l4OZVe2wGAIbpMS2twjD744K0uJ/q7xA0yDFkDbd0+5fnVBvNcPrlVTfGpcPLxpc3NpR2flQez2v2p2yGUcBbhAvAHoKctlGYTx5ttlByJfhy0yTEuGeg+1dkJgKST/H9YhYtQEfKe7o2UcQ2wknGoSeoYgOpZmXKx3QT/K9g/FqKwbpWJVbhoyAdYSeAo3mM+HV6tpDB4IJcKgbGPeYS2EeYHpV8R1GFlaSL4TvYam8d2MHfXYyy8DTVPgKHYEJzXKq2ObEhEEscCIVD8q/D2JhkNstKbX8Hf4vg5qOcOW1GL9xl+fBmmucriMVGaMsKJhn1ykGIDEf4InDLOymQh9fVdBs34kzbe5Qp1Tb5A66wb6jDzTbeIy7C58Q2Az2jEebJmSraBc/v6MY32w2SXtxwpGeLzLY3Pr9ebUDhFh0C+Bbi7b1H9nS94bw69a2KdrTJA46+cP92rWYNGeTRMRIr70Bg98fLe2nh/2uZehV0dV92UKPZFW5v6Cz/NqMTrFNJNdfdWDd1xIRjveLH8SdFuwzuLiNk176vsHv1aN5RUyq6suSi0Avezd07DAkYiZHjNVwT75yOm1pcGhcuuYOO7Nkf4lW8M6WeDivCvG0g0+zigZZ+2NsQA6PRVDza/3wa+MXfDmN/0Nj9cdPYjioZn+S3Zxi3UXXmVlgmo4OYwEgOC+26LNlA749KMv/e9xwu4+9AQkZeCyD/LpDz06Qs/QQyvT0kLI9os+E1JbJLOcS3ul8ewxEjDUxbjnvvPkkHeWYP9p5jvIov/9c8EiQz7CsEkXZvkPFXcblxkx/FgdtKA6X2y+CHEcUYV6NkQMTvYgSgzZ1ZtlVkrxydNLwoYhXt6HurBkRc+JqBWy7LOYhskTbSKp8+ulyjfzWvfYBD2g0dfxFu7oN33PywFaWZBMkm/h1D9s+PMT85Dks7XkytZrCMxLVGR/FQlDm0dfRA+fEa3C3vGfFgUX0hOk8ZemvUqxNyFUlpdiXMDtj2pBFpz/lwflX3T7k3TyYzshN/31yr6RlobaQ0R7cLnzUvQ/2qVV1TUE6i/2qsWYnAe5qlmcAN2tfX+0HK1rTfJdV35EYRHqzPx2afB2OGENhbhzoq401PfZJRfY45xeD1KlYaGGmgAED5YLMMu/rMgn5ejBv6skc3nGZQ0jNEjP7p0GlvUPEcfiuYgKDriKRosW0TUVLUKe49HqKLFF3mHwkj9hWWPjYjJzWfujHd03wHRNnswf+UqCmwucToHEZXv7A9H9YGn29Wg6cwEK4xmdGLM7aqiDnANNyxrTvQ/8h6RINdtMBWcE4oEot81H52an8XGgca+o68Pp+A4tORezpMtH2kXxp7tfawwUK4sZM+iGvwFWYAsJn6hYv36bO28iyL7PO9qHqjwJQLEaT4/m4nEHpdMfL51bN0qJBUS9K0Mul16SuSeQRh5oXdCaBcUNsBFidMFfbmEvV6KjrREkq2pOh0bn78GE6aMIq66ICd5+Cqqylf4DiF1JLlQq+4bLTuVopfOaHI4ILvnbXJDW+eE6ZV7UX16IPUckuMpixL0A1MaMxGeW05bGSD7Oq5qbkyqXkCggbXKg5zlMSYS5SOhrzuXvquJNjiR/zpTRLl7mT8wNCAUYjzA8VpoP8MzSax3OUah2APq33ksWXJ0gCYz5A1WpN84L470FBl6VnnbZHyRG0yMgYRwtcOnkaimP4Po3fdk40jVDBINWxOOeY/DAKLLLl8GXeXcXqjXo7v4yJP8i2sxWaAOC7Ph5cDFERUmnCdwI9apMOoZWqm220WpXaO/YAnKTbfskJVBFOWrRU+9RG4BftdfkOLBLlfFyUALnqPZsuLvIO31YPeOQxI0FrcG95KevRB5FnXsmhs3AnI0KfZZl2vjxemovwdeI940gflF1+1FnqibxkLfbKEK0r7syuBodBYMqq/b2N9u7aihRXSRpCvXxQz9ecoZjkQPIUlql6CCO9gQn0mQCIGCbx025r3x5OHfZR7CIHbt3nTBPEYHtSa80s48O43s3ePi89J3Huo/80jl3BpX5Rgxtje39cDmQekAyHPS3CpABDaAdDJ8yLE3QnZ3cfI0L0fdoKAm3P6j1gka4eMvtTV25ysSDvbfKbw/drdhtjMl59kjvyrEbIbn6DG9lTmb/JIEbtIK3tZL4pmFRGOcWp9/KPslKdWtHarIeuWlqR4JdZJ7K3IcejcLgaavP8ELA74RnjIiNkK35CXQxXxchChhNJ9l8nCSJa/CikEh8b2au/rlprJ2fsVBTvdvpp+NO8t6Z0wqVGYrtniidJOhuLqefL5Wsnohy2CTWW3OIKRagFGao2sWHp6EBfc8+R0SPbtl/ULVkiiqiZuNIddvu2PHaU2qQdXBM1yHWphOHvqj9SDD0WJ8DIEBbsQ15L/0cElecH3XNq8iXgmEdlnLvMd9hwGrc4jX+v6yQ0Wsm2XKuWXEHolrEnZTJFQZ46hFNnApfXCaQSXtCICHiOanT55ONqgI+ELbiaS2oLBGa2wDxCdABejOqVVm22hju1GbN725+nZVcqxdUv0e6Y5X6drX5JhINBnwnGpsqJr2OB0BwuzIbzLaoko0AY0VbSO+QW1IUmDNhbkh5yUQF8B6Ss0++KNEJHKPry13GC+g72xE8cLLxH62MdR+FhHyEXlahgqyAfIGb/DsGXEy3zDr9TRoReWERDGbYt40Vbfcrh5oI3T3gTN1o9/d5lK0PhJl3Lvv54APmYIFMyyDIRnq6Qb+IvTtrCbBgmH0mxrCi3ZJ3CPIV1PEoPLFW8hKR/n5QxxC8joMgvojJuOjtFElxG64gkHZHwI86pH30S3iag3AUfY5msOZZi/lxFS6rIuMs9iSCZHwjsARTQDP9WYgyKvQ5ClwW5dTOqo/yryhj45X65/8hCLWzubncntjmZhqzSFJE1hvfjkVXSL04DjC8UwN/Stl2nBZweNOh1PEWJbJhsbsLmzlhrH/CmfYZzoLzYEs5fIqqFL02veSYrPqG34QUQtvytyGaC/BTKVr53ZzgmTFymZRkNqmfAkoEIKIFg3Ssv+60CJVh+5q9vxasqHWzWhrqHuYeHtaKuyRjVm9ZgGotxP1h7vYH2YcvJUTJvFfEnH87DlgykX5JcUIupHSOtwWU0RF/a++KX+0UR1Kg7KamxDQA7o7h3xnh9zgGmcQvckxZVxmlI9++oVDhHC24fI81/M6GQMxaRY3Dq2BW2sNID+BKa5n6nD5HzmwJTHHsf+wpdT0rr1EFaquIvlML/ZdIQ7HhurtqJkiHoS9n1cQcmXLGX2uzVem3JfxXvksMGvCkO/kLpgmQLjpY0taJTOpF3xHp/XxASG1PNAB1/9JG6wa4lQYfuCgU/DfMBZBSFxfZ3hgGXtLe6mWCv8LdcclxxdFpKGC2uiw3XNaMFnr1Db3TqXnrUKSsEsvIgwXorq/iNXZCgPlgFIIp0PgsFCrjeA/5cLfXzx9CiDjcLfL7Y9hufqxhyYUimqWYCaenFbEOet52ZX5Fpef2WXo2arRO19hsrs06aFYzqFerDiiiTsH9NTgH60YZI1l2/OUfojTQGF+7to1t6pn9eAVDDeHtwsPuMkKak0hBvp/mpXr0OyvhATBLpOWEItEhVIB0roY0jugS/pQEPSbM2He2gt0FLLGzp+wmInIRNVM/WKJQDWajO2Zsh1J+rWoqq/0EonE9EYG9w/QM6YWPfrnNQRqJPDcXO2EibhifuA2iILsNnm+QTTRDdrfAbPgrV6yuubrCg97maF7CEkRYHfWvDn+VuPiWFsAMyRd53iD5texJPccB0x4B7sIeS55AbZ4IiGJxlZUE2tB78Dsqf3P0vD/b5v/FVSGbGk3xnWyVzBJmSFUB5Cn82G8KHzVN/Ok3BuLgryiDgFYOAeGGabRUJ6ECViQXx2GLF3yx8UNwdf454ZgBQTGmNksv8P/ggIsXlQL/Hv5yuyJIaaHkTyIPuDQRKBWebmzs5HQlJIME2ZSffBq2Kc3hj3AM5TeGp5/M8D4ip6SqtE9n+K5NrFhaXUonuHVjp6KOdHbRmi4rmJ7mfzP1pN+ZhG7CZfrCelZJeA3Er4UOrkzkN0NXZorwepC3gAYy8/oERIUNoAoA9B5/ZCAP4ofxoHqlZxwSNm0d1snMrgS/2ScFeDTcLbatjFZOQ7QtEwA57XpOUXv8ozNGwsLOYNWTw0nHyravGCfPjoatNxsYZhVcroFS+RjSaICLZi8Yy5hU/bfHvLvEmIE8zv7FCo6pQoWp8xCGNJBKHlf5EZyCRMAuPggpD25w0nmBWpS3S7lCkqodGKdGfixcMbaUSpUTj/+O7blvjj7y+gt5YtDiH75V9XTT+ZIaeYvAxL/6KZJsBwVYi8j7ZHqda5IqbcklSLKUSb6qR1cjwx3dkA3uVJB/Z3LzbUbE3w2nBgUxj2ke+ntiM/ec7JBQePzG22GzenGLBuxwGdn9Gc0HQYZmcjtDMITtG8xRJDZWFll2ZWyEd+UGOefT+Ig2Z9BNpdtGMToWxuzBR9aM1/PioiORIAdll2U6QnMUDqD1QjIaTxnz+dCUO5rAlblBC4cto9oTvdW9z+Rf2CfzXbWHbNgUEN1hlYwjT4u7rRa0btzzLR37oLCAE2NZt3mfnQgtnFxMIXrw42M2DjjmS0UgCPAsEyVYpNB/RxlRP2XsM/H4lYrojbP4NQqqQIUqRQ25sKe/mUqgwc27MYA4BisXv52rfZ7VjSbPpM1d73367l1NUIs77W7oPezpf6guJecdWZh+rUJ3XwCkL+qaP3d76JOGgpuKgWI2nUudIszM1SC4Rw3QxIF2lRZnjduykReoped+W+yoLWbgU471kIBaBBnKPy/GehSvT58xann5h0k8a2S22sz/phWHFM/z/Ka0GGfJmbCzY6IgEHwsFxI6FzHWaNUrIAX7yRaVBOHa8+X7y8NTgSRK/IzJmsDpyCFYRDOyrJ7NatTVqiqdFAeHQLiUv32fmBX2AjaTtQ8aXzmAEh4MUq8DdZIUW9JC1odJNLwpDPu458wzB/D0gmfpCR2pkxG79tNRcIZ+GKZk90QQTU6YY/K8tL1B03KX1lnwhkFf2EkKfnd7mBRGeOhTe3f+rZXPWpMq+d+IJBkxz0jHgth+TqBQgq6ZswFIZFC2u91vasoCZe1Kp6/kLDBy9AKX+LmkqMIaDLtljncrODvBNFKOTRRceD7ZQ1OIeX7iY9QF9O0r16st749e73a0tvbdAyu693SuGbfxUcpjbslvBqIhSnj0yx7lrdc1pKiaabsSp1r2T6KbmcgOba7Rgsn8daVYabK0zR0rrOYgEtz9arqUVF0og/3yqsanZnMXJLqnbZCznfIy0LnGH1cTHCE9UcNFogC5PyWN3Qhw07paJpqxvMTdXsv6wAgajIWs0vvm/a+2a9/W6ICR2Edt7PgsAt5o1swPf7hPxE62M7Ys60Qd7eWipjQ8CvI7PIQouDzu0kx5/8Z9fhGdtpE0qpsapYowl5bGaBBDI4UcgrJj7B7ried8Iz503opTvpzf7P5JDtzZkiuI3+my3Uftc4Cto1IFzOXZVQMY2GtymnJjTO0dFDrYPEbTajWw23eB+1TZCEJsFVlNNAJtmeclh3KgxPtSWqGTUsY0rAMsDkPmudLJ5WA+OXlIUR12lIXfr68s1cQG9W7lAWSxttQdrAksOWf0MFbkANafrsTpXHUsv0xKwPRsd9/wLYWf8l4NuBzpO9yX2tS8VHcgtdqWIkDN41iaPWQXFIvAMoTJOLL/dkofEJZ+BSidN9LSGR9leMoU3XNtqS1dwgatZRhxJvpQdVuppVSrSKN5EIp8WHfVMalUlGWL0s8X+ZX9MWKyvPXNZNpHiqM62t5yL/qox1Holw3xCKokXSrmKDSxprlrfov5+JgSwKosgdVP/cSbMXQGoS1SZ25Evg0QtFz19ootJqOTohx/1qC51o6GKGnz0qJHXYdPaAw57Jxpcw1LcSIxjwXiqj0xpR4Kgzgp4ZaGDs3o+BCwhrcXnQcaOVwtUAENVBWQ1+kw5F2VcsmfVcxvBwzMC0TanZmwH3mDVA63o0dNhppuBjoAzHX65MhYG+2jxuV3oKqCUzLQEqRvvKK5MyLMmpPBGwYF43z9cwKjTNcOelwwgUFmPRn95xOr/0qHjtPRyjtFReV8BOMZxyct311ON0q2SP8E+GHSeFfepMt9LOqKThAa5YXzKXzv+MInyB/sIjS2F0bWEgZ8rxmqjOC9ml0dx0WVQe51YKTep5ywreSaWuL5+XDAQuuMSC642whPt6o1DzYsrRkIjGGc9PyYw/moTOMGMWorD00PlHdfw8/IvIFO8e7Oq655VBmrLm+AaIKJ0Dz8+dEHa2UFNAc0Lmy/zsY6WoiQjN5YsRRL43GI8thhe53bHNczcdkj/UVcM5NvU39mtrxfoY/nUIpW3m9t+Cn4RoqlknYck3nMCS/tyv8uGM58ZKAtYyS+vwW7TFCxDJquxtB3UbeaFbZLsq5VAESiSiS3KWSavifCbfUdVnGzOJzcSPx6greH0/KkAIHiXKenX5X3b4JR+2PjFBwuka/+Xw6jK6OUSYGrH8Pt87D6lwY06+T4UF1PKBieRfVsXHMLKW5FGAi5DQq7F6XSX8BoVeifi/RolVlnbHseMvERDXBNCBvm42VJomDxv/cu/3US6uurx78TpLeZ1Pj8WykpSVhmHdn8auOQPhP4QG+W7bBi7M5GcKD8YurEeqVKd8ox0cOLFptM6ZvgFUFvCgG/ExcBDKe9LAAy/+XBZaCzNhwkfBT1+n5ijJf2EmzeWaGmj57JbIGKirC//KnIFdcDiYBYbY2whWo8k+sIdVQGS7zFrJnURixPoPHVvTPsWsZhwj0/MEGKnDGFHSEE1xIKvP5DT8Ekvm3NaEJYBaCoBYoztyBKPYxcLxg7VRuAnPEvLWrMsj3rUIiN5Pwuz2kt49bCBq60h+1owcVOqPLsVA/OdAKoxMrBRw9QUqCfuiwMFCkZCWCtEQUh4os1o75XGVTY4gr+xzXOc4Qg07yq53WhadPolX14TNbwFTCKYZLQX35ZvK0BYcZmeSKkmQe+AIHQ9CvZVWqFWCsdKhW64luFAlzfUXj+5TCXGNmXh5ripjSzhvKnWy4bs4Lhl/SswkPIxz1EXn0GJ9jbiYUSf30w2Nc0/NVDiHrMg5Li9o06dcJM7oihJdjbSlzCEcHnbsadwHBqBH6kUYxCZUiZORAisFX73U/zAKufHVx8vO3u+GnWZ4YLNOXYOo6sDtI9cI943H+BDB2+M52hI7Sf4OP/vokWIr1dbyZcoKfIashoTyNk0buB8tPkyKLk6sPEyewYSjYO1/ju0PM7ZGQ0T9Ci7VXHHrTEtrWJ52B8AHvVj7/dajsXG0rDP/hcibXgjoaInJAZ5TIORBhwtTOywbcQxVS+n8euGpNf2mk8M8BBam1ne2HEdgxfkBb4rHXzQub83L0IRierHyxUmFRudaxyfhdY2qHXeTkauaGDUTc6aMgqPhPgKqbBFerGpH4p9eVxLQOJxOuY3P6YY7HDeXdjY3MLegS1c0Y8ohUkyeI3vqd1W5fDxLvkQ5pfo/cfcYBkG3dKLAgnxLQn4St5QVD2QskJrS91leNkN4IsVmT49+29+9bI9FDLdVbwZKQoUuWF6r2Fbzyu8xEWoR6PzDfBJdXfZAjaEh4BdBTW6W9gs3hPKGiVZI31vIv39ZwrV/5T/nhTJk8r2a4MpyYcV85YLQmFsEKW5/AkXEhWKT5S2A88gZQFbg+pFhk4FLWLgqWJedTHt8q/bT0kylmYxvLapOU5tbSrFzXyFGpUiNFQgoOiS3OnkTt4eNjMQvgtxuq5hyBB8xjg42xtB7kMijKLhwPreqwpJNoTkACN/yvQeEHMxCt0ElnP+peShwu7/Dh4LTJXDsolGDS6ICSw4d38v2tMRrjysxzFlRUjBoCNdm8RMhPhaoSwvfAcPtG7e2hF3Wgio0wHzsJqOYtYgH0sz/BKHpTFAk6hbVgNmmwyztfkUtDkL3q82W9nqN9Wm+vo/5vRuHE0D7bRFKdGPMuCIogVbCNp7KM8Hzy7yYrNt+eh1NqIBWymZya9S5UYoNHswZ/sqnI50MvpBs2QRhCqd6LE39ijKscBtc7LoyggOJPsPK8kwt+iE3K7qn3doiKYndb2VCu5UWhXriIJIBZLI9QigVFinHY62rGbUDf/aaCRYRFDk821e4UVy56aPSKLP3ebNkmhhrNowlQxm+ZvO7CDXMHPdZ9n6MW1wdDZmclLxg+2sNW+u+4O6Yw+l3xGiydsJjuOZptV7ZO/6T0gvXkiXsFgrs1QIhXu9KgXvs0negI2sYBvNio3CEnW7f0sG4P/6/K2jEMYpy7RKgUHc68Z54H+GPttKmerou2IrdAlh/D61zbDAtkKQnklNErBdPpd0LzPY5mZCjq2pB3+BGpfWn4TgMTw/1BYKiCufPWb8nywf4GvG0QwIeNn/jsrw0Miv3cPCiHtR3y0yQ2baIk7HPiFZk8oiqeD5+gr11sQz+9H+TdHK78c8gv01Dva9BnRkp+fvPZpMStLz9xPWqoZ53/dq0kBCDc+floJKRYQwPg37HxE4wYco5+NhSjEZyYdULCGhiuM3JnnhbjyGbX19ScQPTiFGbG0EtDN7LanrS6Luqx/lQTmgjUuxBZknqkk018SBtBSp+MfJDEaWv38lAjXJJ8+5OhqeMNYcnxdj+uiOzDAW1t26uqSWfzJ+i6fJc5+dGYPUmV8exfjZcegtB+n4wa0mU5P/xB7AXpoOdLvIiCQKyH8EAGgqxrPnvUjh+YstGzRnFjJ6C/nGcJxwv4iabwKi/BKccWuZyn1OjH2vhnqW89TrSfLPTD5ApCTmX/1T54/31Z/yuspQGQPfMLrMD9GyOGFoJhswvB9cIeCiWM47sT2twHbxmgULQPt8WnQguc9WQZn4zpCdeu8d7DBjIWZBgNHA1xDLuzaqiHt6Inh601+spWUMTLS0EKer/W9VhxBivigSURK6JGsR/wDXUnaB5T5TO+Q275omiMpDbNH9dc1+vAUskEU58W3euBmcXcGb/oMtAnnaXL9TVh8WyA8kf3bReVkkoQAKIMbP3qcCFEfh6GsgFHYpIn117DosXnYvK3FcGwURdTTRwIBzFTucboNOIa28aIRA3Q0YgIFXa8BMrSeKiTCfrdYX3ErWxJM+16xUZAfbCbocjyk0FWb98XuZLdHrp7Y5vgRl3hIAwemLH3Nf7gkgmQ5W584AWOOVKe+NvgRMunduFFLMCHZ7bw+vFNL78GP7DpK/U1Tcobu17VwJ6i3I2L6UZqTXcJdqu1DdsLIj3X5xXHdeQT9Tbij3TibgwCKUVH+H1ssxzUdUlKPQl5oBHjBvZmYoUL9tfE3eMVOliRP5XdoZa+/6/ElhkE42Wts1t2APBmJfNkTj8HE9DA5ZOEPlTanJE3loy8nsHtZ1DeW9QAqQDqnDAnQOTqAXBvKYmrl5Sn9IKweRtlwGo45FSBfLcGuUkNSDsyH3Z5VZOpYU8o/82xHCENoQQhAsh50vg/9UBRwPIJg4QQoNGklsdxFTBXpd037IHQudmc11LY9yHN/xacOS8K2LRy3QecbjlaCp/dU4NbhH/eKwP5taG7PjvVSApkCZO8pwbVH4owcUHG14xxgs/klzAsVK3YvAONXcWVtyxGMD2JKWioksC2LyUPOsZQUvRdihMkh+pdvP4BUeH+lKnW9VMYViJ9hjgn37AJqivvxoDzrbvolJFmN1b74NqxEVG5+JbetknwsPbIZoeh4ZBt6myaGQFVeRNUP0A5OQh1QnCtoGpzvAqfLU30+6SV8x+ccEhilbRUPtx2Vd8n2b9HkgmgyvjpZ6kjHyYrv71yJEjCEEZTHza3hwnlwoS9JGrYeWCQuTiNySbpIA/+4er95raavt4m4+rGhEAv7jXneJ6j6HAzq+pvx7B/uqIIAwn/7UluV3kYiwSawSaXOGCb+SZR2AmzPwPteF9u6WKiqND8LTRB3xcl4apctR++qm4z2ubo6UBUT9nI0tceFa9ciQaYQtW3coREZXUPTixfynpZDxzcY9+6+8NYl8RPtXx3tHjwK034xm2uG34fMEddbqAnlW8LA0ArTzDCUKJAqqq49DQHAgFZOxUfaM5H7ZermJMvwlA8kIhpijWXdNXyVhBToEddPwjR8uv3FbQKxQgXE0RMv3s0KiX2PLIT5RAIibfOypaqZxkhBS3VDZ4D3S7F3k0EafY89oLKGlAMj0Fx194ctbFfoODGNNJoFE8RAudc7jCOPpX6Nh+LiezIMmwpypwF242GBmFIbvNnWLUboS8sx0/yyD7G+7QtWf/1lFMXFdlqL6zysjmtnDb7FqL70TxHRVHK7hk3veThcWw2GmqqytfzU0RQNwhImEwY6bcM8U3846RtBb2v8pv6B6yRhLc0U96bwCW9CpwfW4uSrWNmkO/Y5dFmpEBS4P6j9HpyJbL0VGo1w7L+S+DscVEWKJCBm4NGYQA5Iz0PtPQ1Lz9x5rWgsZLQOcPvICuQeRQHXczaQmJbIRPYRq9RLfVB3xzBf7E773LBVp6fXRnLRzNazWcLPG/+6SBv/wDz3GX0JxgTqDGbdCvG4FOV+Zfo1VhvW2Mp9SzdsYF31dJZwsD4CcF4B8RkntWAqNsNOdm3VRwjvuAeUMInZGkDpQkc0/DschU2M53fqNWb5pVsFt4GN7eeMZM+MnvXU9sPjp9FYM11WZ+4/+WqPBndUKVZFQI4hiKqk9jEGmLODuKYOxvqQ+foeDRgSvG3P3wMKfRC7I8gXl6CFC0seudTL5DARsTr3NDtNpU24dOCt5VquKgje8PbiBPpJzZczKwMqsqqxvR82nLABvXrcgaTOo5Mg4xDgKPfbIQwtVae7MLY/p6oLJ5PGtFUngXerHyVALtgA1NKvyDz0p17HPVyhQuRfRKGPHSDbQbRYRKWwOKujwBvGSQg/YNdAOx9i5FEcH0BQVQmfLmmqSqSW1EpUUZHxW1Y2viuez9Eh9uWtk5zoo2xSqLjQVSx0RNSaJSt2m2/5X7PQ84QVDuENa7txVDYWEzBoW+wsevnIA60GcEKS/MKTCeLRk55BeewOJ5hTK06aaWP2Q1SZkKsHS+eItTdMAVqt6IiVbYl3g4xusr7yymV0qZWmjE8FNt91d8vnH5KtC+IBrIwsfLbGouWN+OW8spVf3f9E6z33JCc365BIoWdHZUSa4eNrmooBstV2DT7hqTHpf6MnveLzZegdFICFgo6U7g5A3DTVopy2t17YqUOLXpbrL4UCRTvpPAoonWwvHxvYUqDPYII2iHxjrDJcvtKgCcMNpiwknH+Hv8alfn45T7lsgjK9cYSJ9vlYpO4P9kc6faXngm3Peu3JeddBBf6ePXR+YERiF3qISnDcZpOBJNcTlNav62oyHyLxJMiW3E92SJ9s4D679a34Yu3AfKGATV9ncA1I2rIdD0s3tZ5/HtOX0vEcqe8uXotZ+oYB5rv0ljpNXyPlbuZbg6m65oeDW4eP4LtholcwgBSL+Au8tYjF8ZTZXVo3lXsVd3XiOREvWpJHUypJb5oXwVeRqlEdNX4qE/0q6szQjdTwPbv1Baml3z9s1Fd6pqFIyjB8D5hJ/rQ/nXTmR0yothlA03l4d6BylNKEjL8znGCvD2L/kc+ko21HCu8Z0CsHODSPc2/jAaxgdtPMjmG+rXMnq7ifaxaIflMMLhLWwNd7v7l7NNxEbhtEzAbPWWFGv9FqsTteH7p8NKC32KP7R6wBtCt5eN0D/KaXIczSr+aTLRTtnPwDyoZLA48xzZ1YSn/7s0xmwNz/RCIejlEDduBjbN5Rf6ex4WqXTdlSF87hT2mSxGPJPPRPvXcGtgtvDkb/hjz954JqwvXQt/UY5pYnp2tBmc07OqY5EIZw0ulWG9pCvsZ1ZfraF6M8ongQTsyQWBlu9lAdMrABCDQ5W+Vua5wM/Z13ltJNihFrpshkJhDs4JzYaZ5ZmI8GL1uDeU+YWCvkyWDpootsdoBMBiC5H77KL1ax6sIxDDxLfOkiKaA3Gcar5MuveJGdM/D1w2uSSPzkMJUMV6hCamEocY1czTgkbFcZj4XmjO4sD5bzGfC7pIHDmonEvAf/OQTFLkvBeDSezoMe6Vo7MEm3OfFgTLuRymiyLm3yHM0TS5ik0KlpQOr4lIPrM8sWfpCT1kKx+IvV76F45zPoxhL/h58hm0OE06fFY6Ul4tn7IVT3YbsYStx5OaN0fadFEKDRrWdIkFMZUwgWVZdGH2ZFQsYkfUs38Ad/fJcV5DSqfdivcsauXAKfFiah9AezdUAxvO1SHBX8zhmJN35nMTUwz4kGgk7xkqskipdsc9Kaw5Sgs5MBOTK17fWbGbgXjEdx5Y3Fo4EhNdh+Xv9capLRyB8IGtMSQ4tYZRX6ksWyPYeFW03/8nCQ4EOwazPrlYxQkD6HNR8m8eEtnBGg6+VqOzHar+F5RSwoyK6F8bNEHp2OiSj8oPXqomZ8bx+7vfzOqFT9V0qWKyuO5slkb1Ezr/kH3JOAkcdrl4oG1ffkFRoozj6MrXFTj+HYEprrHKokqrPTDdBZfTLBtv2e5UM609z6J0JGeu8GTLHL6Zs/Q6n1+m5glrgjhpUlcqS8DGai8UwXXCtoC3OYAolGdkYxWECGX4RNYCfpASCW/p6LTRR+PPv7pURiPbQu0qYI0QXKoYR33NpbpAPTQcuceyccI6gvZVZMYgtvgbWNgO8NEFUp8N9FfiGjX0Z6MnNwNIdr9UFGpjhtdW3bQDVoI5mEgMNywluT/U4ghID4t0+XUwMpc+RdmK8L/y93LpRsKxUIIT6Q8rzHvqHVddFbwzg+YIynz6GGbUyL28FrI17OjkOyGjKU+Cd/vlvXUNZjFd0lWsX9XBcRT8SMpaS9+FBrGjdjd3AUNvKRg0nDtcNeAdqN+N4cQg+0C0lujtCJ1ydIpeR9XWlPR42i+NWYP1hJhGz04+l4bGv7R0C9qpdbV8GdJy/uDminZQj0mYufmiNjdpo/mUrePT1Qh9I1nWpck8R5MAHSiRvGjcpDKGg84j7tvD4GfFC7kwNBRoj8aA7uwYaH7X2vL3kdh4xw5EGJ5q6ucshTKa2zTMVrB4DcPrIIGfs33lOLd2wXNNr5i6DSclrIMN3E97PDhe5+WBLU/9MBQowZfotb9qu49KU4SViIpKT7DhFRahgMIptuTkWmnfNfGvAFGNf8dvvzxsRuU0tfiuMK05mXGBceKWFjf44466R2Fp+4py53zVaiB1r6CKNdqlIDnTmvP8ogtK6jbj787AxDd5wqdZkXY/HicSKRnov3fRYe9lh0BlW4lgAqKt3bbYD8iCiKRb3loSpoqGjIWEiJLMxKBHPRUH2g6+JIIbFzc+VDzAZJbruHcyAZfQ9Jczg4wt36xM69K129mKP6BGKp90BWbdypEW+AjVcUZFOTOUxKqeAtkC/zj6911JyrN/hnH3ehQz0G90ttr2b1aROR5o7+aIxPhoUDPi+D4GEarL9XdvCatEWkRrTYPKXZOIEYFbt4WeK+eGNZ7hv8mffQAlkU5bcFgKfxVEslYBsoOtrUZ/zmb8PCrLHCp0j+Ob9e25ysXO7+fA8HUXb984q73mh25MMAMjtp1l3YBEwrSkBZd4CI76AtYw1n3r7vxd7QiXSZXfvhdw4zYO/NbNWwCbG+1/8CZqDcF/J0fWqT2+KkyskuKsiOXtjF3UKchXb6YG8saB5puHVJp/dLash5LeMEe1olYdtq7V6dOXKv/rCRvauzEkP31vawI8b7a9+5qWLtrFUQu6T5NIIdd/IQgLUJgI/C3SZsTeGgCjdMAdWmWeWc6RWR2XfUEcev+GBHZ7ME8rmRrs8ls1ULDx81KZ6AIVH8AbHAVwc31SVpzmVB/k0ScH0nux+Y3DTcDDLi7xrN98Pk5qtTII5PJNHoKzLzyk33+kDKWUK2OoN9a7tB+0s76zHawfrM8Asws5qPnpXXfQ4SEGIPNo1oqwhzBH6aZaa25iq74pHuj/0Dbk4RqgG36QQNvo9xZ/JM7IgHPHBPX+yYW6svWfXqfVlOPBh3TxrLihUc8KLqAkjlRsyUpF9xcSNxdsdVyqs03bopuEKgtM2vjpBhScOZ0JxMwdcoZKdH7pFJzMmZ5gvrPPAd6H+MQelY6YL5SumhvivxsXJKifHgXNUuEpiBt5hC632Edxl/cIlVGlXSe5CLUVmcHDgFyr2tSY2DAKCtopuktk7ceQKBrlAL38yS+JiaCtWjlPyWHxE61IUcChIwm8Kujs2z9maXtcK2ZBEdBCz+HovRBDSOuH7EcUJD0s9jojINRmfme2AG5IJTM2ZkV9Q15AXNE3kwCKIZ/7hPKgFtHkHJuc5SRzElWcUG7ZhzTJPueGZ+cx43zZ7BNeOa/mGGNM8FCm9rYspNCGsHdr2RYvtFjafhT6/5M2xHN/5YWtvNfykAXCNhJj+XeksO6N6OWwplkbkBNDSfVUPAA6FG1Jpngf8gNyexG0oXrpYEYR81xppZz00pu4B68n9FsNx2MEj+BVKkXPn1sdqedZQj3UBftPI81Sy6GwnNcDBKxoVzR/DnS87jCWPJJR7WXsPmlLh92fML4SA0gieHW7vsJfFuX3EqPySuv3mdB7CQKI2vW1vsLrr1czxUCsekANTiwp2RFG/OoM7NePO4I3o+OWnO8u9c/cRxF55ij5Bf8nN6hbYoXiConux/o91taAzmstbihwH3jOisdGkVw4/eO+6/H+eJJRDq6AZvT4PNml3o3bNp4cDGkR/0TcAgm9hSXGkEX0MmoybG5j50dtYf95tqsaD49t/S9K0oQvxqOu/7cRCAcANj20e+/NGg5ioj3BYazjzt3WB3ZC2C6/n7wMRluGEoRqNx1v0pSfT780bcZZuVUYL0mcaXueMOOgf5tTLsUPuH15e2yiAc/aKTIPYOB8zw1tTUyB/sGm9U75F3mlsODaGPK3hbc67Jo6GRtdvrnTz1utBqGv80n5KqReCBEq8tJXoVpQHulrt4CIEJ5tPVwhwZhHKweB7Itp1vQFIJDmNdIxMkjqmBWBKKv3mkUfpwj7hRsxG/cosT9bHU4dFIVgxOQxCk4/5XlcTnbhdWY2OTyjGSPcMAJ2RJYj943ocBflZDgSrBoy9NGKTFwtiGyA4puMv+AwFNOdYwcZVHxgauhuCi9i0qAqZzi7UCO9EHkNu2XcJGldAZSEToXJnIVMSgpRxrEs/AbyTjx8whJtMvkKyW04kmBQqJaLJpDdU9ItvAZhUz90qIB5l0+I+bRuW+4fcLRs+Q247XTzRe8wh+PF9zvM32VQerZA4gCHJdlBFFJE4wD9W+ZCWYpqKn12H7+gloMkFOaCvm9hTkG7kI4sM3mhcoemtBa87yTzU0NN9CpvdnZAQD8aT83gzknXr/67pNQNLDgiJZvZV79YDlvXdveTzkV5TYilA6GVtUZiVpMhPUokMJX4fnUiA0zoJ9N6q3bP3UllRrq1R27gTRga1oR7VvBCVyq70SzrpZxVnfWIn1UEX7uu4RHuKoZmlnCcTmlosOxSTQKYYigo5O9R+kUSAn0BEKRfV94ID654RPVm3jEsrCR6PTNtJET9oWc1pVePfBYMk52dCtKyZaR99JhLkz5RCa0qt+371aYKsNydCVcgGX8qA2J+J69e9MoHcyrXDYwUyv9GtS8xv9PuKjhYLCPaM1G4diJ6bbhXEpZDVTLSAyi/ds3PyjZlNqRY9H4HpYiUPTGIt5XDMtnr26g0dGngJ54V4Y79Qut1WrOLsRuMx8RX8JQN8f3TZCObDn3nOmdz0Ov2cjBprhOnI0G9DPMwMdNBaAShzyYOj5K3VjA+pSkxJTMtfnPQcNHyTzEekbK7EkpH3GMcDldIN+eusNOR4nqt5v+VmC7+NMFsuz+xpLOIa06sRhPTy2FX0HXu1bPjlsAua3SEYFTrxdo+qyMbQUJzxMU1xcxYj1cGFScugTF5Gjp5INpVYZRrAIFaLwJP0TWiJfQLZZM7b9/ztPUyMjyD4QgapcKDmKyBQygSFBhcErbyoATNyLJZLiI/rWpH/eqGZ5U91A4Khx+R8GZDcnY5rl4fJ9wpiracv3s0OMD8HFf8g7ULtm43M3tyahe9Iu3xS9BgCxDKUVUMsEifKVguBezlVcSFxIABEfhfHbsmi3bQtdqXQY1mnktt2bA1OMLL9V4+vGRNm4Unzwj+cMhr37+qL1cRMAU8OhrlgwtrO947Px9AXqr+oXb2pO5uQ8XBv3ogUbjRWPCLLXCwOYDb+l1+9z4XkeyD46VWmBlQdvAmctCKwB8VRBqnqTUMyUKYatXpAFq5mF30BGIPaS367HcHt0yhrRXr6uoTBywip7m6GGUEDspfGqU7oM6AtzhD6FVnH/Q2Fu/FHz05V3GCX7jF+6J9Mj5BGdTFqqdkZ98zk6gnI3Gni5bqeeHR3ObrjDoXykzi/uzr4gzZQqhDHLAEvIG5mydmz4Ewm8UP+m9ReD9BM/3oTbYCCe98GQzi3iTh43CB3bP+ufpHBkAgJpSpiX8LbzoOXCGSiPspYpYgQ7cbfYt8MquKgmH+5mlHyLLqqyIdBQnn8JitMooJwyzTt+9TQFbmyi8YrZ3J11p8ZzP3w1aWiNRIhyU4z/Otz9XRDbBW3FXS0h6qj8iEQWeRizeyRpTbBXQ5urR0ZFDACc32lr+dnixhQ2ZgHmrbJJkPgjyoZNubiBlaMDzj63c0ZhTxnYVzzF8+8XxEujcxnMOEIwPrj7/6CwBwDehyJ2N0GUVosaV4XH7sparYBdtT2TACR0SxWAfoYq9oPFHaIMe4rcLn8NBelrgVmp34+W06FN5DuVqZTpKwPOqYCGSPYUH2eFlxt7gYFFEWf8VY/w3lFKaVAEFc8GHjKOkaauMwQnQuMxpA2Bwp4NlAnRCzW3K6ywe5b/8aPdd9TgjR27LKFxTFc+Clt1/JSyCYaCAXypNffAQYgMlz3DyM5pK6gvF0K5eG8tIi/DLBiChk1nnQ6yVkOtyM/K/0CCr+1bLZn23jHPhGoVej+m93ToRC8gpfDvU4keJ6m4g/FSGTCPsgTy03ApiNTOv2GKqDb705BJsTFKvIALRZTc6yP6SGRbslaxMebHfNtXTfVDzDPDo11Bh2WHbG/WclBjCLqPD4Qzkdy7jlRmJqHtlIxXGb6CF+P4OR2ht9P+DwCfHRvzfylBFRSMwdluzIy8DnE8t9brmoi1tCD6kNy2xfvtTkv0+bTSr0qYUHTE94W0Ln1ZqYR/esZw4Vbl4ClgmST3phQEh+ApEyRg1xHXyqnMXs7uu3vR9EXn2ijK8B0VjuB5SYC5B7TbJgjSkWXo/07QTDmNgO2v9gTRhiXFC+aiFiYdTZIo9JZ5FheX5Vfp0pbLGNFP0HF4SMgT6nojULA89BQjP+rOgRqlmeyjboEkZmNE7CiAXNjY20ir2xoI36w3MGLOpM76U6TvTf1+ghML9zA6V9nyZIxnETjm6Mw8c2EC2lTT0VQxBCy2UysYdk/gPGW4DcMGNbj6Mbie+6jkXAJ8FY3PkfAniFhwiTQ/8/gWU7juIasbxirFJy79mOMRJ/lJVHICnz/KAv5AQKGajH5rh+AfdwenO9WcjvoRYUEKjZj2i9OM0JSSRp+d5XKt5MwGndnYos9vB3Ekp+FsrsPUdM1oVSl0C6GE74ZsYAgi0pKJ11ojUnYlTZ6vbSVZd43VSYbezankti2ETgJxxeyPC4+G/L6M6uIA1x+S7TnPf/DkxwTuBt3iBgK04wSXbizYL6s5G6bN6lIEI7qOcCOFspHIbcbYR5LjYMOWZ6cyQx34eMNcUszMI5Hcxev8XPo3JIBxHE5l2pQ18hDteGM9a4Shebk0B7k15fuwQffS3+PlegMJrSfKZIlhrlfBF87ezmgWWC/tjd561+9OIpS7m71nr0NqwV3rK3sgtxsJm1f1ixMliYyNqWWc6b62owV9eXlkMNLr9ABunaFmWsbAOjUZH3q5fjE1wK4co9Ryea3YXNvodpCLq971PD9g2myYj4Orh9lSMWatVgs614uW6sbbU2xsTdu+mIk5wSyfhlvvD46cHYtX7oPoiBW7JNl5ptfQ66sIc1pO0aPCBoclgAc0TMLPIfK8VzqMHTGNNhGodq/VOM6shIKP9UmQJyhPQofoOfQXws+FnTXE5MKohw0CLe8wQ4yk61L9tUUZerhxHD4rCG0V7NKPnPd9cpOnmrW287dcoHFJU8LmDIEECjbJrUFhJzpjuuDrsv/IKdsdzp5dw3OkPhlWgZVC7uIEZL5rsSssfWxd1U8ZQOdL+dWCyZ13RleXuivyhyaSomFHbUuZU8Hr9UAZ0EaGR3ttwEczY1+mJZkzjgjgFfCsUijaJYtx3kEyBgrLP4JiJFhZem0F6Vgp3qMt9OuymyQhR0p8AlpRkXrA7WlfReiuHi7FcP+WejemqQrGcEM+3V/redD71A90jGpGsxF2+7VQgi66XkklI7OZP9JH63r4RCnCU5/yKnof9bOofsy3SO/dz2kO44LFUxDJ45ofZqVD23YZczAzzmylOePm66IqPP3ZjrZGHW5f3NPtGDvvc9HMWSVqJPNn8LDcnuhcjsj3Nx/jzhUOGm1O83TetG+dLmCy+2e/Tu2zM3aqy2Msr7TigesIFH8wiPWJ4W1LewN1JHE8t6hdcfSJmSSXw0D4kwOKKcdUqqHpMJ+kRfJnJxUaDZ986zHsPI8q70Zl77Z3wiQ5CK1g2XvWM+j9cRzE1cDssdFDCzr79n5AA/UPg5EyDN49T7JxTKjovdJXA21XTyqt35t1bAmOM4J7G0YuQtuOd+wPVVvtdOpVA+wQ6XT/pjcIaF4x51cCOrecBTwczzc7J7zqaEQV16GRU+L02E2ydosesHnLv0kWTSqZQWakMVYD3OmxtIJoVoXwv4hC21+s8TjeAvtzZo9eUml7t8Tv6kqejnBh5ObawMGu9qIMnQmqAWWIazQZXmwOIOtvr2xWT73grZ4FOsy1iH3T3yLnxVSZ9Qz5I97VbMmWExgfKDnzNt/xBQbq4mfj0IVZG1apAjehINOKcaaIOQnE3U4Y4O5jLabbLIFsDf7rjwXkZtq3lOGluB9rNHP/qQo4Po6Mmw8Bv5t0Cfo53E4t6+yaklNykPlURbWSBc/DZhNUzon/t8GQztR/rknw2HiWHC2CnKuMdkfPfEujD/MseCk7gm4zXb2OcVMRycz/S5P9ACaOEbQ0t7FE4UxNu3bctFypyyP92hBOgO66NQ1R/8vCHvMy2V/xEXqioH78c4am09T2A9rFjRupSk6vldSSU+72Baf8y3C1/eWHLlGi+yUXzM4RSs5mJn+l8sYro0Tvh2A1J9r2hrKTeDtMC4kZzQKxTZgKkLw3ISq6O6iEyKOA82sId6p8Zy1jBuVdS8ii0kvQh1Ne0PryXJzgN4W997wDYnueYA22y7BdFgResqxefb/+ivTwlyDSDJE30tz2/js0uq2KLIAkqVlsC1wMiuZaM2moEG03BQB8+y9079QbdbDocAPjESotdNNnx2ceRwwyqTo/nZRLZPXzYS9WxM885sSbmxpycyGRWfrurItQX5f/98rkgAhTx8N6ZFlZuas1eD0kx55tuFcoSF2zfKz6vI/oeDHnQ24Tddqf88JkRM3n2K7t6t0Dhp0awTRawtqIQUGc+OtcfNCkTGJ954OKj6F7zaHwwc5kNFwS/9jzSxa3MBnGoPIBxgBEGhSyYyRmM741/4lrSkKyGkpYhg7DMq55OTPj879cXclgsrM3eGNEka0ZH3RD+KJvEwL29/WjuI1OaiPuWb2Gc6I02bK3nW6V8Fc/KQ1SizM75aM2hbl4q6FrWymBc7wlHkSRiIfkZ/cbsdfrtryJ+CkAMM7JmA1DDHnAuhRA/HzNBtwc0eU/UG75/um+MiONu0pC2JvSVSjNVvFvDuxniuT6zQaQEN5I5wGYsG2GhpprEPzNXp0GYHHp7TtOdt6xlv3fs8fPKlwRCAv6c3d+SUoybeLXq342mla+EOWFQMVZf6RHyh/a1sGX9lka2azf3bYU/GDDdaqV9kSe1/2QKdYHeV+pc7VR/NSpkZOtVKwNSt5AT8JqmVyTp2zr/Z0cubmSLEhWXfhca71GigsQGyhuX4LbSO/uC0JQKwc3dUY/tHpJUJs/JsZIUED0vhrIYxowqltAnm94pb+X+pHXpMxmkbBqFccNcSwotGccCal4mnHrS/OyUihSHPXx/j3h05GKPgsbpFPXF2JVOErnBgQ/xjkLyMJT5j4vfntoYtjESPUVWSLdHzrWBDislS74GPA4QEgtCCd4sySxuEBmIerX97K+htIH/yLMfwa2Wj2z2Wt/ABTU6aUijUZehsqTXV4WEP6aE2TzDJm22EiZMqqE1SSYwY9G068O2jGTgv9ZHVQttw+2CyuTOL/coWFTXUv8mC1osH9KrOIbs91JitlCkXVYk9uDGTvI7ks/jsjYTLg/tdQ61Gl4QRQBGzEaHbJ+rSyZTorJtJVFuk0uTLjmAnwjT/OWhkOvs3NoaQ+nKGbwDzI3FmEK4t/7UTeVrFBNr9u311jHoPK943AVJaY5l/3gNyaNxcM1J0SqWx8riglss9+f4d2zDnE496lmKet2R5r8a+hoxMJ/lv7lFvWzGemAiD3pKvPkzmS5W4ZpB4Fp/K6WMj8LnwH20pZYT4kTNLsOg4f1qggtRNzJG52tJKFrY3sjhH9WjQbU0Pve0APyoYfrICu6X/bTRliptBleGxyTzrRXktUKIUyCXzko6a1PHRowvOjBsi5jQOnX2+WwxiRHhuko1QsKt7ObX7U4XjiArJkHQBWqSBXZ1QSmfPWQqhKAR3yaOg4HSYSVg6IdZxINLBc1jYGIRU6htQDxJzD444IIIRJyJo890srFDb84epbo/2l9sEB54+/NqGy737U+WjyiQ7T5Tw+8QZfwVHBbHfbVx5Tzgb+pMC3Y4wHokUhv6HdaPfiCk4P3xZoufjvsdm8KFNKN4BFCErbEQjD0qcEFIezTQ71QEZc4YY8mfwoGXOkg9TANnzA7zCzvABPPAWFNtTW3QJ20X2bZcbDNSu3FQ1Fx8EIovM1qjaANABs7HvcBn4KctGDEcd1oWao12F5KhYhvI7QftBoIosUzPLslRx1zgcs6B6k3V9a8q2UlJnqMclPmQM8rfl40kaL6lCclbgtGZ3aNYORBoNB3ikGdvzX2MpieWfOVOVz661SzxVq9FPOmqmH6Cp0Xr0sTvUqUEn8z6UbqB1iyUE317dyqKUOXbYFfT84eH7zrWV8LZMkvvTaH7sN2RB97MA6NxFhWgKK6iatqB9Ux4UvZWtPYZGeaUQyiWDu4leWoGTNinUvFMSfAa4NitR4OYemywJTiNktzbFZBGFamgiyqR9K8Od/fsro9kcxXVhh7y8mt0r7qHqN3Fm8uaBr8oCb1wjywyHjKusMJfPAOld0NP/umuXPdmR4Xm6US+tr5Mpt1VLVmXmy9zQbe2omFQZXM1FtQqBonxhJVeA1WfmSbRekx9lnvdewaRCPX0tdOi+jEdC8CLn51CQ3193PQtyE7StGyKUKmdioVrby8fTMThPLH9bK6gq2Ep+TT1CVyFn6ry9WKHsLbXeXszaSB/3adZJnv4Zh0xBrvBL1O4YgIiOXaV+WFNdSpWx6ABcjj5cfKsc09gQiPj2jXEtZUF4bvbr9DIL2whcJ87uvPL1MvOX4K9HcJt7SwIzMLHEwNyDw647eM81P8+AQshN+kgwabJRp37qpXs47+wn7Q5efndLn2O0o746Qz+w4TlzAqa0/d29YhGT5E/6U0tYMjoPhFsmQZ/Pvownwn1/Btm9CMDmujTwm8gwWIRhoX3oUew9+R0I2KI+VkGgVIs3FgxLrqEAj1+UVEPWXo3Hp71pVt83RagyFX4cgAmqWcDoqJdBvgqFVIl1PFtNFkU3o3ZCscPQ764/bv6PytOIyuOTHUmyfBCZuTNlJCLcjeCusTcydP0WvwpKcEPKGrNDm951xxMGT5H0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34310585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RIDERSHIP </a:t>
            </a:r>
            <a:br>
              <a:rPr lang="en-US" dirty="0"/>
            </a:br>
            <a:r>
              <a:rPr lang="en-US" b="0" dirty="0"/>
              <a:t>Dedicated ridership is flat; total ridership including Uber/Lyft is up 7% year-over-year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qvOBKKDS0pQGTOkQwwsfvbEqTueO2iY67NbFEWmTh1cLvc0AZXaj/otsj0duoaWX1XtLuvAaFNnZk65zZhBgIu8Szc3YEX+H/u7x3z+Z/EgFUunWMeFyc5mrkj2w87+JC0g4szCEa/HMs9ISlMbHtxIAw15RCtnDaEc0GRBXsV4thHhKZobW07lRggrJdOfOAyyNYIx41F20ZouQM6x1v/hWDFgEu7XYsQ9q5B6utEm1j3eLPyxwD7n/aMSV9mnjZMO3SiIRRwVDBQ+hvwEUDlXjzrEzRZzBT7tVn+f0yrxAS10GV8xZun00+HpSaaxfNtqcrvgQgkbp1JBA8WYWUQMliJOEXYPeCYdzAKNfOB3Hwf0XgEy+AGOsTPMkRJ10UYTph7uAP+mzQvgHD9euJD6/OKuVnRdeEYxrd++hDodGou+siwnxyLP9i/hSHhexESRB5F91Gp0QYs3IYHob33myGn0uj3tHIXigy/jqX+MEl7CuSZ8GDSt322uOOLeAPaWqxfS3kR6FdqxuMo7o5/v+YEqvknXS+vHZUBwvu6ociNm1ljznMMpdelElWTdQIHi7E5Ure4qHVOCL4wl/ry8Fxmk7UCLCcZCY1Rfl9SF1EPLkACYer8RKNwOwRtakGK2UenUlbeFavjaKI+vJTr/3XiC+iVj00g3Msf/zr3MqLaRIw6SP77GBttJyJyGK6oz3lKCmqAmS3H4iCF4ktStMhKmVD6r3gLPXjOt6nHAIMQ9q7YUd5q5RFoB4HAHmzVK90nBCXkqU4VJtohHp8dnbGXobXk+KTm0ux8W3EicrsK4vnU69CbcwdQfMaXByLWMf4qqZc40vNKbtGvS7TcMsZDeacon+ykTpl88B5/NGWYcdaHhuvM8K2ghmqkrxe6USdHcuIvjgAXoHQdCUCOiKknBjC0BvTB7XSKqT0/FEjvzBCnyak9C4+yqN95ndCx0WiOHoctjIrQ4gqYkmwUK4eIx6PY/7lgFctLdcEdYeJJeV/Cc8WQLgaInjsXF8a3gM0zYQCqXvTaXFUx4J2r+HAEavsrO5qavnx2csKBntI6wYULTbySQHQ8DkZdZDbUm6UA0HlHskjCGIGi6nDgal0G2JXohxj3zNU2ad8A1OMQ08NQzE1QrDAWyfrT2RUtlLWRp/dxbJxcJPoJbMBu6Pu/de0LNiz7GocMba6r8haV6Y+R+rirILg1IzpklQHyVJB+/NTe9T22A8cB42P2IXAfrBAFClh9FroQaL/gnbR9yu+5MZsD5WDscpZCf3fQayd56u2nEV+ul3hnXUSx9zHfNjxDUwuCUsxxcdAsFMTXjYR7IipQEu4hLS+iZ2oLjpoWtHRD5Em5kECtgRnWtbCDWCWAUW+VRuP+yBbaKzeXCIhdjn+zBcgEbHSPe3s2QCdUJjaw393Eto+EH1Kldf5VVnl4YXyE2by5PHFTJyqUnmT/QzMGP7z+8ZH1D4qHEaRI3nubRi97+7BaC7D8rzNycVBEdNp4ysHLIFuNfDGMxWoFNbOPfyVIqdJwgOBy7TaDQs49YPI8Y2i7onbftE/+nzc4SISGfLLAeoQoyas/KsMfkRMAhzRg7Ng8kRykx9MAMJnjAuFAiaJbeW4nuBe1oa5PZCRR7OxPMHPj2nkXtzro28hvjF70Je/VCQQUp/vKlzEsBmfvlpFeqNuOqmQ/kMTOAxxe7q4zf/kRdsVxelFB5dh8si3grDFncPkLcryM5sWpl8YHI89Yvjp6r7rMobsFmN8t3T5vanJdJht61K9fWZc41MPqJqG4ULX9glRlcOuWdeGzYFVUaAu5ClY6OeJ64batdOd/KnqI4W37Qn6J4nnO/qoPzTEqnQagpP96ZMYpsonsKVXR6DEvghgaQlcTyRi4Z9U0n7LzyQGylQuyRqF3FTwypS2uwRCxM31NRogZ3r2HbbxZ74iCw0zFtxuEIAIgKzdYKR2qVqin9DnK9FPYi+CJ4toPm5Gt80sgzQd7azRR4mjC7r4+q31F4woF7lV7OztQeV+UAZkYpIKlPjqEUryAn8dY92tdpCZye+vxzYOGO6GKXyoNk1i9YVEsXORfnadDqpcSttCsiv4Zfmk9QOOA2CfHbf8v2/BwFlV7ll6yZ5Rk5T5CC6m8E2qGMMY8j20u3ISLfXAjMl3h2ll1+hcju5f9rRCr/dVKHfaltlnGakBaRXfv+GxidfTwoHpLuSI9/2Dwh4xORnR119vGHL03v6H5uoeJGzl2yirpCDSBNKrifLOJCc1i4qOm4olnlHM40yU4Q3JbsbFL2BnwkPM9vD4y3sAg4BbWVpenLXfFdRx4yaTccRPnvpjbNnrwVipYemRCKfSzH5WIvF6t6+cFyeyci83JpOM7WZyJ5Z3zWmElFYlMew1+FTkeq3H2h0/GDEoW2zZy3NouKv5BB3u/hE8vpLTBGAn8Wlh5azwWXH4z6XdezgEa9XIigcMV0pm86D6YzuKPaQo7DfMtqxm8tzMTQrTYyw4BeMzk4IB4LqeIuzCscyWQ5N8xQKFZgDrnlLqcq3S8QG3T25dp2h8V2boU5Wxy6aG3FTGDpNouw48AsDofwZJxvI0UmsWDYX7wgLDiO4F+tGiOIxRTRbMybAU5HD6iCJCpzJitUskMKfweG0HpCQ8GvlFjL05JXhM0w20Ltwz0cNYKesfYhLovMfihQgJUcjnsc3EYiPIzEl2cOPja9hq+kHXM0riFxNSr0wJDTZH8vzO1KRJJMjD5ZAAhaRpZLFfdQGKJh4skj/29yuD4zmP7hJ8fJiQSJgFQPIey1/qdGkf/GDymHvjgWCpoCdaXImhs5ZNEqhLAKRsUav5ah1Cd7ZxdxPg85vJQEhkVAE7cQRaqdqVDpjQb/cbiAzOzVLNEI84VEqGUNcsoucEBWtqJWWpKGTavo3+8/UlX3gGG/v1IQbn684XsRhky57gMQp9aQyKViTVu5C7yYv95ym3kz9QVvmOyONzuZmBPsR+p775ptHDFGIk80XTYKrm4p4pl/96D9IWIbiRKAUZf3oTLuAgahLT6YNPs08vvp2Ydt1sCVFrO/MpRcZPfLi6712agBBY7gUwHlYuq61EdjEvUXOWugRnqfs4UHC64gT8k04sE6dA7Z9lkHcNO03X6lOJWimAxmFQZTBac+Inb0CwkzqStljFr73SN7Ayyma4JVcioM0Wv3llXyw198ZpGUZutgmlm9mK2VPu+ra+18+gUb9t62u2TbpTIXmbWgkkU72rcN+qyJxbSfP+8Ze7jPLjDEfblTSsCawxmGTkaRdAsmssxI7i1mgFQqUkhtbo7MJeHbDk2rycTcSLWyI6KMSGLP/apqOjhvZCXt4Nty28LnwhDsUHSnMJdWTCMjHEH/VqR55llJGtespSjkbjzUZatTqMk2vXwlQpEZUg+9pivMy2HrHlwm4wbZQZPO5zq6xKkg50xG5S9T1V5QCXunkHrFSyhz4aaVLMXXuCofU6bDC9+O3vTkQaodCjU5tK1bD+FNvMcZgnEARiZc7H2E/iaUhKLzantdZgXjTTNh/v4ZW34CXV9OSyW4RWlo+mNDtkGIWtnAXorgOKDVviBgO3cvYMt3UtlpNmV/Gsd1zXOQgZ10tIT5XxdbLwdRzo9Y5fVXrCMFy06pifZ0JUlyNfCp+bYNng/zrzRPELzQ4jHp7YW3kTgM+JDBEvfxYFdjnPk15y2iPFNQV9DzqsQXPQCp0f9p/VAyOoeDhtJCU1KYzftSRs82k7UD9ibPO+vJqxpf73svbBNkr8QNb6mWz16XnbkoEToGXkK1u/I19/8MfTgCOk9fvIqwEsVuJyyAQB3Wy3jdZY/rNJPU7gVEwpoAXdQO5Bhc1wlHDZorMeIHInPwxH/mc7uFhCBKL85aLCW8kAybchA/0dyfAtm5mdBC/SeIb6Vs5hJ1S/oy5Y01qfSPF50Ep1MckskbFpYtuGo9pSqTuxEzjVQtG/Vuo3Qtr2RoY3C8XvQpmrQZjIkedqAWw9u9DEGvvFVJlJUNIzvjSWDf/f6aRPlrrb3RV4xUL0m93qoKr+5ITM75oHHpum1aXCX6ElEsSDZhhpGzx7op+XFjLz6kTwJtCAJi1++jTQLjaSaAz0Ht1HChoVNJ0ta1G7u5Q1j26FajJlZrsa8yA/PontbzUS+EgHyhhNpONPUruMwKJGmRHnQBRy1H40Zfq7kicLmx6mAWgnAyStEY3FwxVA9N9vTJ6dpQyzvMq/f9Zaee/+BO7spcdLLE/TMGg9Lz0oskIor/Uq+wWRg8+w6AgwK8MWuf7UV5o2o6fFX/04udDiYDTCrwAZMr2oICKzbFt4oX+TdeYHJAMpbph3Bg8VFnT1KgKNn9ztr/BelIgN5IjHj7/t0VrTd1E0YDp7uvLcXtC1/45nx88UiHGc0o9E3jD+VP7lHxYTDBRhKTLWaa/BsrKNFoLkyNtryAVj4yz1m2yyJhQ9iUOYXzMcAqQ2HyPnOYIw1mOZNQiLhKUTOkgCsZrQ+J9OoFqn3E8u2VTCUr1ycbduTQpjiQmY2r8iS+LSImrV0kG+Xhl+Xbf9vNQ12CDPyyjOVPLbLKx7DmrOTxEkyjPrrFgpR5iS6OfgcE6WZ/OPe/JVn8/LEk67RqVmabGaM7oblRz7hjQUNPSCHc9woPwgjtvv4il9bzc4xKIboXOSvM/bpaw3RdtuIW4/46SFYVreI2GAsNyp9KO1WTec98oakk6OLcZWss+Z4hHPOcnEd/rGgb2t4Eq2ZkGZ+emkKfznfLOCZtHhftaucEb4Qgj+RDw7PfCTIW53Rb0wzYq4viEqVROu3MvU2d7b3/qG35xqXhm7ZplxkZT3xQkWDJGB7YUEvZCqJEGojx/soMDG2riB6MqFJjhvSTuQQ6vLjnQy8KYy/qgm6HdeDgcdyvmaMMHrmn9vM0nZwl3TBlSvl+mzlbqfgeC5d6YMpQxw12nN4tQYS8FTOXD0OBBWDqVunjkWvjg0T07BGQ3eH/ccXQxVgo0SBubH3mQW/Ymy1md2ocof+ZuSzrNR5Nkl6f0h/IZwczx+US1n8z4iRPb8WxaGnsdWP10F50Xqq3lMA0WwiRG6o9gmPcGkkq2HeQHRrWCfDhoDu9jmRAxFz2Lnstunsjw4ohTeUVdvrMzE3T2eBR4SJ0ELAur5zi1V+IHeyHggMqUqw07GlDefrCiUCkFNcOuQ7pQ1SO9sP2aTiL2ipyaw6zNbhx8o235csm68PwqC9yoSjLbq6BYLRXdDMrAhWplN1lsjP6kRouETwWr2rvZ5/L9nttalfcj2qwrQH0yDdti8tWXX3sqXI6T0iNLEGB3bMsCuL4u+kDoqtTv/5JkxFArGynm2AwIs4iXMhSEgWPYZ/rvFXkr6+Ok8YHXygXVhiQPiCg7PHXBMS6osygvpXZWSRNKdgzytY9jflLPk+D19g63svkHfz+1hN0aD+GncyxZ33cO3xhxtBENevbpCGdknymUQVd89ceFqfOFR/3RhHrz++MYDI0PqhGIEMyUcIjpzyKA8bETgfH5sPlXAEBSfJdvRl5jT0Y0KRjCbf17tonQ/nvAyaEGC7XmcQ/uG4+ep9kEV1doLyd8xqj7YuBckyc3lQ74vqEzdl8xdFCf7By0vlqIqhSYwBLls0KaJKunYmyfX7fkoFsFmR8zwfkQbJs4FUOF2rRQObjq6vfh/31LFOy+DQz/uS0+EqRgflVTgm2I2RnayVhfjj7HJs6N27OHv2wVTOVL75rpWZ/rGDzlSpq7lQyKjQ6sofITpJPQmMEI7sVGU2tO+rQutI/27CsTMP830utAb6IyugCCnOlSfTTP+SwDNotoD7Vc9B1nxE2v1TnB22KNu2VctX+J6W5KsSKvBrCrT8O66QdrqxcJx0kBoxLeS0WM6iUSmeYSVaE4jTO5ytExWL7EMITwFKVuQDd9izkbJdZeOwRzM1Yavx5T5nPWiKVaeRHFOofdvnrEyEHZpSkXZedPFfwzn9vOtoDlmoD5CXz86t7LgdvlMkEFtI8fRBxH31oz1OhHK6hemucCBZr9jzIjBZFBkl0BrhqQGt5SVA+lzXt/4iXYtT034chCLi5rVHrNR94b/8OZkP1KANtYiqSe24GMjh2T8dwKskmq6N/H5y2SaSkFNIoJj6sfYqEhBCgc+rb3ZYr7bZvqxquvysx9WD77NEeLML+CpgYEU08MPGsZEn/2NarKOdewXDQd1sh1SYaamih+FDlLeYLmd1SNCpAp/NNh/tmHxICT/voANTCSr6ipodnFOSJ8rJr1TnjZliVVb+OWYs1Ztvly2IeI2F6TmJOt5bbeWUlBDR3oc9da383NBWP8XSTggS/lHgtQFPre1OrTnVVcIqF2NvJflMR9CFFxrFZ+dQuUYqZuUhcsVePXsdwjEROLm6I53uWwiCA2reu5hOOEtwsdVyJuAh3brlhVohXuQ4Zypa05kwa+KL/urNbzijrJNB1D6VP3E56UCg1CBWkMxSggy5c1GNfUhjJtiARO2rvtFJxjmiJuOtopT2EtAAwXk5nTwvDfy+meFzeTOuq64ZTbrPFOsDlJy2kTDwzn/JLByrNrjBG8AauSOAZ29r9IyTdua42yIK6h8Aww0hfcWdEzV/qr1YS+WYHQ/RSrt2jF8GAOG/ivUswX+qUjn1LW8T+GFsoklH88RxqEIPhHelbFGXzR22uciJRjRgiCPfb0hLZk1BfZz/n8qXlx1BmBU6YmPNW/Tx5RqbdkIJWfQdZZMXCK8DLKDyzyh1uNtbuMsZyXVSxD9l+buV15hBV0EXT7nh7yMQrKTTzFfqa8NWvFZfOi//CWL4opgNjGad8fx7I3e0DXaDPKZsg3s3SP0ChX4EuUKttOVZuZd9h6MBH6Q3qiyj6QJpzsVQmq/K3LledymLD6bz/TE4gUSVlyYM8iydVtzhEXj0QXnvDvYXNCaWgkKketap5kp1Z0Nyk2YnK4l0JIeRI43AdzgoK8IrWFBoBrCCoM3pxjEg6i/3aYnaHqIqnizW3KCRcwzlkcZCTmXGSe3xHbYNY70Mdjve2udgCTUlkAaSExqhPj4+P7Ip0zAQeTg8GKIZNP1NDD8rwHVoWO0MNFPWLUoTmXTTm99B3haR+l8Y+0aEIkwyrAsS8Mx68LIi/eNXSMFedrZQyF9RHTCwHS0f9nxQiRMCrqfmiKvFClbLEI7A31Xrl+bz+24d7wgDrjER7or1mfrDNwTLG5+MY+Qm2Y3NuGaQUrb2xKkiL9sjeW8wsLJXE1WY6GWjQU9g2DpbGm1TuQKjBJ4XNeJrtuerOLcci4QswDPIsRNayfLwXMeG1GfWolaWpSxSbHlGN0LgMFV9f4zluHWw7a9BNnsf8rwyLj1YyrxsQVSPG0810iI4a7EwjpvMfeeh/s3S1Iy9QS+0gzhZJNH+3XxyZcI5eVcGjcCEekMt9zmkYfg8lLOkkXjh1h0lPTdZw1TeXQo1zjC90Lo7zTYOUKnwotjj4Jl33DFxS0meAtWuGOpZhIEqzgUFeVv1lA5miIX0Oeziymk5ebNtOoyBOEY7lC2kOlDmgMZEYxXixVLrq2zrfHovW+PI8WUMunvQQXDrRqKDZaALSCpge7/mnGRhrbQ75P6f4JfQenTqzLUuYAtvaNuDLbc6XL9w5WAgkymix9r8mWypyFcczW2ccXqX7avo+LTJPiguvpQ0SPKh7Jsb9GO2IQ1v9qvIQYLs0ylHP1LNi8GrsDOxh7NCIG9HnPcgHaaWOiOvWmkIM5HmEOrW6a3As8Q2TuF67YSbNxggx5A1NjHUusGiN9H9h9wdtnX/4BJW1OXXCBY2OIIJO5XCcOgr5jGKt8TAX2j60kvgPaJOvjE76MVUdTcYGDk1RiBdSSWT4DDsbDfiuxoMz7aCUi3IQOVcKvTY6z+d37vgCTF+kWYTSiRYfClp/breFipVywzjsCHgXYmWYHJbJGFJurMtYM0S9lZOV3Y1JHb9ksOqGs2e2RgBrVQBKV9lOdUMmPKYh7FcM8FsPczEAjrVavsBCC3oYjqA2EB9WMG0Nks8rBn654Y8iIQ8iGsp5BEmZ/hUmWH2696VLcT/zGkj9DkTj1vciWG4D26jVxdHt9odzZZpqQTcigLKc4pxnB9B2/PvsjEUR6C+M7i8to1NTWcGzFTPAYljXbMuUcTMsd769LKBZbBHabt0uqgYPScMpmrx6svUxsax/5DKxyCmvMhG/6sHynRIQAYlK4/i2JhX+jomDOG8TNT8xSg/yT9mmgdOxTt/On+SNUMf1Y2Akatrf6Pe88CDt+YKY/oCv11VzVFeEzEIPV/LGnbelDTxeGIcukJILXWC/V/KXIvdPtnDQ+A/B5OplVG4bzdVptpB7GJcVMsvaITKCoTzeX2ejZDU93lQDC2eSup03BH6wVo1k0HhuDoLE8u2u7taZqhmTDqNcbgK5AW6aTUuvbB+mc1+ec/2AhBL0xIFCzM6w7FbyqOsJNQNpJNeQydWksLNC11GODgBZqUSIWhvEy3jqJ4txhr5wUrYjb4aRl5IXqP2V7ERc/ZmkI6Y14wc6jJYqCYvj4mjOTnw+eX0Gmdkk1TlH6o2i8xPr2Cr85LDfIAnVr7TIlcpCmhRd/nZdHMf1kuOznma4eUqDykRLU/I5n/rDw5nKWZQT75fLIMYmTVf2TOOrCIX+6lKHQ3qpjKJZ4/Arg4XRbGI6Nne08sd/NKlp2ek0PPjLizwwgkwlV8WauDyfAeItMKjKxcESWrNWO8rfqFtsXrbrHQ10G4ucs36tuJHSX7fDGtMNSVeYOSB+e0ZGW4p1SlKtQqUKyoG0mP7tsxlMxXNvgAcEsgVRWu9or5FCj9PUMH06xZOu0FZOUkU8jBNupE4/RRRhaUkQExgkM3ToNACSVkhUYrjyixKekvdRxuOeC+Dm+4neBQyaXwaYJ6AKzRSin1R0Wal3wBMY+ECeOeUeoG42zMHuP/jGke6HvRI/n1MGwabKunFWKREvOc1cNd05C67j5nymyc+oVNtcUADNw1FF9msC88ntyznUnzSB978YgNkxJMuGYBjVxLR+aGYlourcW8avZV1qNj+rM4YhRd35KrVNUnLyQXaog/13RjW4kCb6luaU+aMA5c1vRIKNsXuYEK/C4dzXFySvL7fTz8jv0d0npocusd1Iy7d3SFK3QhUxL3GNF0XTd/dTthSW3CRA5Rb5ywNF6VptCXpyErrYIoGsLWUBX820OqHEXcSEYcMk+gub0C/pkLjrqpuTAqxRyFId1eMhvUuHX++BiHC+U417hV3iTJDKPTBmCpmD/h3SLnzRGGr8iJ3h0/jss5NWb6CdQ/nR1GTkCld/0xtbVqy5vkiiJtb2msVKkFretYlzosbg3DyIC0PTeEgnI9L1U5eHHtuSqu6fN7KCQfKVM2khzF1oRQ27U9zpfrIX94olmGNrPynu14niM4Uoo974WQvwH/AxaV0PhIDs8M5wOPA8T417LgUqp+306m/2xs6mbxPOXFjITTzsvwSrGdKGspFNgh3iISLmxwtOpa8KcwHMrPp8bDMGfBvWtzMEO11VWWOjtf2VfRwC1TaaOeh0bDmVVdX96GGHtOoXy4LcPKjWUudwaS55VjEf8nu/YBfImeuwDkKzftteIeIRyDYSxeioCiyTEHGITxrTog75AbDhXOOZPNvlc9WFx0vv0kd/KX5piedB0340ZIA7ieeI3HiwWZM/vp5iLAm56rIH8PKdgAGEFKr0S8M2RMmFljNVbFyhZBUD5e8qKh+z7spVAjSSphKNH9uL73CdTX0YNzserFXTWJ/jbgbw7rqgn79esO1v04r2MkF9vy9yBvYF9m9lnTCRbFgMltSatTHq4ejBHsmcEWmY+7U/FbDH/LPk9Z2OzV0wJiIGPOCJES79oq1KOOMhp/hnEoorMfrj9/1tRAHfiegtDbVI0GVogyh/nkXKSeoWHWX0on4Kw2p1oFnVp4uz+7dP4PX7g/0gZtH/wn33Ckq4gUxRiOxwR4+DC16WFC9ERvwwwx0mv3uvsjUoRVLdx8X12GzllJlKvCnVfXtOON2hqM2cozfsQhUSKo8wlBpMFUl890uB2eA4Jdsk2v0AHaezLXN84SupkCJdCFeZHIBg5B6JcpNLDv6+nvIWbILHIz9p55liHYVujvjbMKezrOPxfNCQpAXJ4sFQsiWaQSPByCFmnASzCQvWFuY6dR3WIwhNSsi6c77YL8dW+2JFL1smCKzRB+71KMYt0fBF7V/BAmnL+a8tF1Wk6XSpm26VSUr/tN0gGnEEWHh1FAZjRcrPaGS+Wpas86O2wUDtHYArdCzjmwPBZ1qroSNKZf74lVPw/D2CKgC9UjpWa5EmC8fflsx84a0sd0E6x8R3dK7da8ccQEr3j3C7bjSXjnxkRbXlvY4uGiE8QAZUhiZvtN/99+VeEqGBHl8VbVPD23kIdbpyycWR71yRQk8+2vZfnHqEUVXH+CA9uPmirHPAKcEyhLg/pt2TNfljVifodsifznQeoisM16Gp/wQbYdne0h5HRO8qnnFlRM3OxqF1RMHytGJdWOF7bIDA+B5KjEma+WKn+djDmI+TNTArPFuy6wtg/OlyHr+0b8BG8WI5dH07QYsJ6C1di6E7Mj/u0q74W6KURSuD9oXLJ2+VAl27p9QIJrs/lY8GYw41lYF2043Evzc6qvptGHqNXLQz3j0oK0sN2n85cVoZHpsrm7DAqzzSdMT+YpOxk92IbfrL2GGFvrC3bnWMTfHVrldjau4HPxVbHXMIm232cpNjYysdPSsZiv88jTjLuRMGVK2hfJZQcRhQit9PrMMA9IgaY2MZtiWQUlv0EPn4JPVUaFqR0+c+JKTJi8opSODdFO0VEiixAafxsiFM6atvB13vYpoc0vvPFkycS8IrMaOWU695aJ9nLu0PnUQkA8FgLZ0jrZR8+B+fVAt6lThzh8Bvl0k0AxsIIPeYZf1lsS1ja8BekIWZaXsKE9J9ngEUuPVeOKrGQTg2LM1BVdY/qKhbXVG8kvVeZaeuKmFKq1PCGMBvFUr1ycS0ceCTFlFqjo1vDn7PpZGKpuAKDQNf94YHVACC9/gI3wDDHOjL+L+R32JIy3pJCcJbjgijOdfC9fCfwEi/IlEf23eclq4ZCmp1lRtldlgSaIXB42bfPsL7fhLacvSHSCx5jhnI0Otc8JOq9hRl7/GbMElDT8JIVEsEj5vS+YKJPbEjA6Zu4Lz28ArpUcyW5xglNbxn3ca2puDi6s/7XkIjUW/i3SUbJeEIMNfTK6AHqP7TyS7f/kNEPotUPOmvX+n5+exf/rLLgcc84HK3xt4H0KGo2nacXjQAuBmUHAv9gLR20hC1wlTeF33Oh63od6rk/TSA2KIWewz8yGmUbDUUvvhx3ShfQmcOZQwEH1S/5W4DocdTU16qJ6MdIDpDgyK7Mmg1LFNTdbdeh6EEJS/Mgn5Ns7jYjXl8thCilVhVPjddi2LxTcFap+H/mbxPy3qJS12Lm6L//QtoXbc8YeX4QWwd2o+UIK44GNzIx14w+w4MAfyIL9nR2V14AEkWrA4mG/J4+VzV9GNQzXRruG56gjOwFI+tgkjtL0QZVDUbKxBHFfr1v/3XOLdaCTHO1o/Zm3fv2/umBItNwyDRPhEN/SJB4WQ8P3zUJNggrzJ8wYH5FDxeVeVE2PtmhO+0XNkTeFN1pSKv166hHPUSoVN7XH4cuJZzZ6AwJP5hFuB7qx7DMy5LdZvuHLnnSP3VniSZ/yZkupYxYI+onIokkvXHXkVDsB4CsanESk+vDPOFVsqTrC9RM68EKu9ehlzxzpt2zR0LIWSxqar8ZHESKR95MxEwzyI5jR9ajYd2lccAVWzRb1d2VGePsFGwV7A124P30hiBuQSMXfhsUe2r6h2YmJng+Ppb/zX5IYdKAJxcFF3hsSzQepDEXzMb5f3N8/BO1mWDiIZTeGnxyoN48Ue0CsHKJzQtxpbuZRcfjMZPdZ01Q8M/90YML7RhJ+JE1n2UHQs1upLKWYjzLL9Gmpqlgjgx0yn/YpEKO0zgbNiRk078pJs6LiVSvp4ojVjUS+NE0LlJM9Mt9bxoP1zBfILMNS75olJEJgPvVWjFQOAXyHFu/rlrmKQiP5VZZ+PgDz2u3gWEaQhTzknNzZXMUscxhZ1EYbspiNTbGCYawLbo5KJzWc+lYQjL+6B9wf1vob4NqWaChHanHlKUcNv3fkaSIeObh2VzP+vjkZfT/bhX4mzLmKE+5aLXkjeeSXXo3NdOJyj/t0McHsxHzvpEAHs1MHQ/jcZrJYxmTw0VIubQrWwJV7dGX1Uzv8IEgfQ1G5Q3P3I8HoSgzX7AKyGVtdk2/byQweIdyzC6IyfU7A8BYSJImK1+YEz/FM0oRFT/OgQA+RjXNVjTB6SFv2GwO25ZCRm/cwR2EjvLbC3Jzx2tJfSmKXfk2bPLc1bdFaQa4XfcCiB7iPUWyEi+R0EKHlgJl+UcZS3kR7lTrMniyMPcLjFOYlBh0y6Re/XPDvjfsGiIz9WN5AZNKPpcQ1mVc5EX1wjqgiVFsBiUyFt1k8qbK2feSFrP3EI6XtVlmujZejc21k/T/P8aPhHp8VMFgHwIj54n7c+5bdPwcg5R6Mkmss5WGxsVqZgfITThfYdM04YNGvdNrAy5L7uAPGTdPntQB38/h3eYq6Qy0Ym14u/kzOcG/5omQ1Qfr6uu84r/XIhS1wHMjOT8+rRpMpi8F+gQ7KTqgio6pkQzWLn6Z1xikOZ4eQM6KenSdkWS+QP7sIKkZBxEiS3ZbSfBTufFpEC0BYMudQSW0CkxEUt2IZD6hYFJQsciT83lj7girIreSHdnjQvC0G+dU37tV03v4xR7CwwIOlw1TvIwHy/2wyE5HnZFj6KFwIOXpKxFkzORIOk+nUOR7iUwobIGQJQnuhVWzZWL7G2TKVJIXX/AxNRvMmzZh95vyH4HJTTFuwc/Ywxi7tYGq6Ut6g2n0B0q+rY7bqeVZcwZOJ+Wxg9F+CWbbYMHMsTECJ8uqB7ONZPauuY08+K00Xq+JKJLZ5clr9XZ9UG304xV/4p7OdcdWKr0XX3WFdOS+YbQNl3urXo3dA1yNoNyIiJwzWp3CDcmARUECfmygH9rXXt72DuZZc6Un9jZTyeWVV3OI3MGckZxdpbOvp46kHKtocbTqcl8kBp53Lsnxzd5Z22X0NZyPgDmY9gX6lGG6I5sURRVVA0HH5CKqo8bXC+Fc/Hm3vh0RIkvtqE1PF9kZXdsbI3c2Vrij/nvTeEgZnknO4wqQOwZru5viky/50Mhft+ys7ToCjFPaqwkodwdbn+g33F4xCvislRLYzZL7ZxUsj4Qi352+WVrNfFwvZUqVTVFJfQ08TFWVSOVoL3q+kqMRhSr1w/B8gP8tIOVxHz913P4hepnof0PJkXPNHmjKXTRC4Xn+Gwa0jadCEQb7Gj6xBXJ31nHK9a7GFzaE/gQQbI2ud6cZRRjuTFmLO2rcF391AunMkS0kL0dIt9ksYWcFNBhTluKp27ng3Ec0k8ixI3h73HbM096mjLdsyluQ8xu1V0NrI8ulM8BFdA4BPL2VLHBw1G/pV/npvyb3IP36fdPuZt3M7g9wLcmZhFGheUSpeHKbM73P642TzFmA9Zkx42LUUlnvH+Mrm9IkHauHWIhdY2O7gvQutDNzvDTJ3d0h07AHWlZRuMnPUhpjbi6+pzOSR2CEhtt/4a/dJ67q25jEyCHYmF0l3K6+lyM3uWatNgm/TgQ8My5lR4v1E+4EwXJFpjr/orCPYrul85iikrQXjIE9R7dZFQOgKyy04Iek6Va39xeAU7PUL8R9hnOtYz4OLDNk72gd3xSlFBQ46IrCrD3Vn3e/1ij8HEUvYxHFjPkMR68PxEx16fHuaAWWOKR0e5uszCZ/VGMuGmALWeFwkpiqqV7pTPj7O6oZFBRksMX9A6YKCdXxXThUYmJatJginBI8+qRVh65MWbI8RxV16nrcs+ssnDj/m8iqat5Z/f6Pzt2yvs4opDDVIFWe1zgshaA0qf0ZUc2zNGI92sJcXrFISiuAjj8226NjnYeYaoi51L0oLgcJ4wTtBwBYzbm8us5nibELxlT2EmZCnLmQkdKWUSlhKRHnlGplEMOVA5DnkS2T6KxLiQIAsxmETzYyN3wz25Wdx/QazugzPIzpjAT7udnKtG1CeDdzOkVdalE99pMmH2JSAVrH3HdjK9TkeAzQHTerC6i+HCcv+0w0EHkJZkZzbsLMNvNL2DP5t0lRE+Mt/4wsUz2xoJ+893bwz83aP1w+ROI4YEpayf3x40C8nIJw8dO1ruR6JuvNlKyGagCZnfw0e2Fr1dGH/Kfi+CYqkFkyp+uOi4MbpzEO09Sz8/1h1CgjpGpcqltPPc8eAC8UVzmm4bjjkpiIPM+xp1DahZLy7KKuNe2EMvvvpD8cNKx5apEsw+K1khhoEqiITEezvkGedlRBNm2cp51b1OWH5LAHY9bPwku1R6MRzf2encCWw4bAlsk4wl8EDFsFpCI14CViIalDCxQmn40XAXfqcXhBwn4qQgQyzTB+dxCaUC5INzZtdFw2YyONqvP9+OoOApGBAFqXkEUUqjWMSkpkumyeM3fmj9AmxMvtI5goThM5iqmzTHpEzF/0G74orjNk3o9YE7Qix/joLN2eGvIE/1nkWUnJiF08NnzC09nXYiH5b64UG4aeiUgIk3kE1QJ0rFUnLnH5lxNd/b4Knqb9o8/S4PlMdBq5BTByuKuNwJOVIbFvIdK8EswQewtkLhLSCfZUa8kJfy2LcEpf/Qr8GprC0IfxoshNDLrsJ8uk82Il8r5jLlpBJgSA2AvmWiYFVdP84spzSeHI6WAcJ19AOlFZYio2M2/4T52Ul60MNxkqcIew2vDj61DDSX0VgBLyz/Q0oVkGqKkM2xxXTc12OnN7iNPs2rn+6t4dqYEaq3tFHgsP0PnXr5WeH1pu/i59jxhh+IkMflXFslcBGXzxM/9fiZaTt34Pfk8w3c4ZLwqLl5fIFQookZUvenIY6rMDDEH4KOY7uaps+iNr8CAja8RhOc8v1E2k5gW9pCle1wGwnO9wjnHszXxCDem+3o0o/6uhQvexHnjnGt7kwFGn3FN7QLQcO+g4eef4W8MrDeqbjWidglkEiiROMz5xZ/m7ESa+JvPUdhTLh+99E4Zg4r7SfAeIf/h2T3gkfz2BnIrCBJQ8pNgZtWPTmEfncOedXoQ/Nh9Kn4q2IIFq+XPchI8zzM3/lBDd2Qn3e/907KAYISCnu/VySzRSzDCl/8pf+7LqySHkw5KFIRxsAe1SqYljgCL+K9VgqmHB+OmZWMO4IuuLvtZE3pASaC7hAsRRLmrVK0WNTJ7Y7is64UltLqrOVwiZziOdmc5uNL0ZApQYR6RfpYArGL0w6tWYnbJnFGbkT9XDN4/aij0viASFPmN9++n0Am94LTL6QT1qdC16SgGgJ7cKH78EeTrQe0VMjI7PouNAwoEhm3bxi8nasja+9T0W9jDB5ZXb39cwGobymPqJOFhZuKivWwe8ZqydveBxWxuYKr5Vn8NLrDK9yuCX8SrvhEY798bvEXYFfsYjFdZg8NlQFW51kf+SGVUXOYjacwSgXpxGY7SPG9lZotPlanPquaZf8Q0FK1WEBQc45pd0qJq4WtH7AOOQnLH0HaSe0aci4DL8LqfJsGUEuJdvQLeiDaraFGyWXF1m7uAw1J5JPZkQxG/dc08YPDPyqiMrEvHci1VOiYKjrVc9B0REFJ7TDUxgQFwU4YSMiYlAMmdqBpYcFOGMOeP0ue7CP0MEmnDGD7iotVVBJyZ/94qM9JhrMwzqn2wKI2rkGTXiuScMh03aTLKHd9UDqoDGvta5eVChA29qM8Y7NN9ZLPbCN2j4BPLSJ/R2bPKbA755GkPbsigXRbTKnDa1NOmCzemOTko7XAbsoLTKhsM0R01X9bGTUY643m0TuXPhTnbPiQaPHRnkfhgHU4mQ6V9qnpAadMzZkkoXAchMGW87rF8SaEEalCO+TsayiJ6yXwiVNKTi+CAufb5xK21f/JKq/LjEujgAjjTsyWVkINVTM+lDkHEgIKjs2ywJRUYnLd37j+ESE1jupdvgD/YX0RiyCJy/1otekRitec4DDyS9PNx6OZFG6n01Jfsxor6FtcUbVdXkSh0y3UfnbYOhpxiIvyx/Ps6Xej1If0goVjbq8iDoXYDXYntqITMqr/mPtjCT+o8v/bI9D5KH5qEzpgLgwVGFxX4+2y9//OzqmkabiRXfOxlMBe/ZIY81pdH3YsEENTo1Vmig8X19MI2qqVUnXgmcfxthjKH88Xxy8BpeAp3HG5xrnixe9xj0mq+LGzfHx2KNfZpbo6mgx8WFrxmWhfXiy0qrMyj/BePZJcpBR1EVS2LYvFKj/4EAMAmXhwIEHXwGMC83Mged3tqudle+8vjv0/ABtfs+0E076AuMNadc/8Zgl6iQTN31sf7d9pjMkJjxhqftTKTjzHYXWPaaURZ+iDpH0LEmpU9G8zLCRlt6w2yx0/2tmOalfWht8Tea0O/PixfVoUaGiIVque/Q69hEOaoZdPH2/UobAIhV1Nph9b9euXzvBOKatbX+zvtd4Hey5V89RRhnThazgxAGDf4JhKWfNi+hZs1nD9fdyS385QYLz4SzXkosUCpLdwAFZMuyL3fjI4ENmQn9VuHqeHf92lNVek3EKkW5spe1qo+Nc5VjCV6oWGV6jO9n3nZK+rQ9UQCb6qGLBlER8ZIr4+ke7nsMQtWMcUY/6pnN0l/qe3MAwXJMBDktPY8/c3Z2iWxmaIeHGWAzhx8rGZJVD9ySLDhR7sTeMXWw1oVzo/4pFvGBpel8u5mwPlmThfgSW4FwELj4UsdKwSZP/lvw+FSL/NnqHpP02Pb+UPeUgQ9sBojU7776u5PjS9X3KnmU/JRWub5cSUbLyrpjw2w7IWLUAf9e/o9q+tYg+Emfmfv2iLtb9b1/J6WGqT0SJ7etFeWX3oiUnFMkZ9HDZ1WV4UIEu2uakRqeC1NfYL1eBvGisGV/4MsoiTH/TP1JaOc0fNlc78bV5d3tRwzef3WPTRPrerUxWGhJeEh7yk2gZ4nHciQGEs4TP5D5AXZTAobdPTxfTyhSCJHZqQAQ+QQsF6S0GW6crB0BhKBUdVzBp9hSmPQZSBzPJvbuwajhgah5rSwZb+JZKCV+fQWfrrS6R1AxaiYQSYdj8Ib2+DS3RoDvZ61BeZqsZpYphxgpYmblBidyNNjkBWFrPbZ8wF+30uqYW5FCMRrhSPzb7ki2V3LcHPYJuXO6ZrY8N6wIDx6AfOuHzA0mllil6qAyraV6y6yUhhNeSTKyGPQn5HZDNi9PVdETEn7DL8DDGuuAv/iiyDWiCjSIPbsoFMTE05Q6+i9OxdSTY7Aue2I/3Vb1LVs+K/r2nQpw5DgfNmKGeFjVCruUKmjILSSIioUNPL7liUj2PAWIKs2Iq/tHRxFt9k/1MT/8bJtXX5RzB4NveEna9kOmv06BipH7tovG6mLKbxeOtgWA/NPLXNI8Cnm6wqomOtfJjWWQciWk7wy3GAEHyVuWmrUwNwXuQuHQQT8YjtRE9f3yx+tt9gw1Dpa5LnsJC+Y7N4p1e4ZOb5ggK0nNo0XXQHCYumA4lPing1/49A8Gomszrxq3UlDcot6vqyFLCAiPyijqOlKy0B+w/8QRjY6UYx20pfTBVv6haTt2gQGCdZsRCcXAedsziCB1gFdgL3D/ld0C0o9OAK4uHNSBYLQ4VZSYHfXg+AdJojPzHL3Zepo+33+LPpmVik1Af204cpHEOHXgaYPaKaKxPM9gwpqo9XIIQ9I9LCkcY2Xrh13npFarF9pQt35JSWbRLMiq6Fvpdx1ZRMcspXyfmSVRjMM5fawOkhHDhZcRfwHVuv7Nqa+1CPIpjMMwIRH3g8sYC8kfQMMdkjYa3M8akfbL52ygBSjrcsWhuPsqOdLRiPeMPmp5RP101QAIYd+DRHGht1PH6B/MsCx63D3oGVHnVAvrxYs2u1jcJZlWpDa0H5JjXwtNNAhlIRAiqfphfpDRJ1OXA5S8tKQVO5wOyDHQSqASsKdlHSpGbS2BSznC7wO5h7FYfrGK8THBsBlnHO6CNIp+WapHPr9dlavOapXp1tR/fKkqoLTu5I1zolD0JEhjHu2vkHgZ0bggN0yCmHEmxpnQBfPokKJBb7W++y7TrATRZR7Wi71t356fIjFGOdY2XJLte/dYaH5iDWc+4jqzRbBNoQIdEsaZeXgQW2Ng7SA0FyNJ8BwSU2wFMiHTbSY6DQF+z189f3WXu9uEo/rGmE0rb29/6GSs7BgkllOc4cH+rzBy1H4NBZibRfcYaIZEOPgiqtuikmjk8WgMkVsdZbTyX/UK/xqf70Ut+ENRfRr5gCVD+p5tyUBB1GqA6XYgE60pUCb/gzA8BvmX9S/TxL9eRFHzdEhCkF+Y/IxJJUcvVDXDb95j96G936h0ovLDTsTosU4swNnZjY+wDtQmXOJuuAyBo0ocblqiTfMcGpEw7LFueQd8kra6/vE34A+KNu38RCWFXMNNSiJLcNz3tD9efLAJXAV97Ccrj8/YIkQaqaX27UoMz0Uj8iCrVBhxCtcAfpFgbyWrptz6M0hksUd6+o46ADmJbFE5QG3PinSM1TZ0T4eLd5uKKYP5K2vsgFsd3kNoPUrvuVouwupnHyZuldNufOSp2VHdFZyNDpRIIV/Tp6idC//etVaqZOCg6zOZahZErb2mU70P7RbS/EghMOlJHoNI2+W1l6u5JKkI2rOg7JDys8vILsXCI0PvlSwujUaEGSdJPat/9OWoMUKJZOa5iZCaZ7QSeU27gbgS4owai+Do7l8Z54MQPpHfv5Tl3hoCUB7x6wXNdgUxnMLf+Q12xAxps/5FMFN6LCkhyfDu/++MMGqtDkmpZwYpUzgGnRuRroUn5uOelWFqRCjfoZ7KvOxEvszfWsNnShSX0RRg7vQIOSQH85+B4TFTx4mdMH0uIqltt0U0il6DeIsl0SKRFkrQp2F/kyJJV90Y2tPYvDwuDDv7YhagIRIP1NxFww1muCzZk08Wu49inZfR5Shi+yGRlug1dYYFXU7hg801ssRzE4xf8lnj2ZZysysvTCl5YmY/6A2Iz65Rqn25jvkaECbgBZAehHpHqdxoPpFFlLtrMwVDHaUhJjrHOzbvAjk9fswHxFCvaMgMZpeHEjyf3bOSQ0U2/+xqxn9E2B6oipbWNkVO1Rjxc//Oh2kktlnHMNPt5gi+bTcFF6X7Z9T2zN8epaVO7cAhNALCGroe8WhX+ZhSojrrHZNPsS8M7CJkkpP1+mkH1Qojws6wf31iwbeHcNO7RjVgDM/9U4x6oy8egIyoS9fzLLTG3wapDyNBz51ct//cGC+i+X7NR3wIn3kAei/31R3fXoKybutSH28E/hMiR3JX/IlITdWVRNu4p6mpP3MgbTy7OYop1Kx4SVngSi6xZSKSeC6skkXBn7vAa6rsVI7CDJhczdApsr9qlruJCHEKvRA9HdcO/atpv5r3neNKAiLA3FU/DCOop12O6mbJWgZ/py7neeQPt3BxarrUtZ4CvBZKR+YiU0wZ71rmC/VG9DyZ1VJad5q7dEDB47Z0mpfqs2Oz0lw97pbX8NeSr7T79qz9Y5JyrgxpGlWGNeMXOoC14ZRBkxtQk+Yd7Xgo7SNblOLb2/zWqPL4Z7iKHq2N8MtIT6ezg8IDbtpxacs+nVsMdJDtrrKDWrlesmyX1OrqFHLaWq9mePv3wlz9RJQo/FRmBgocIIzh1g7kk1s+olt3J4B56nYN69AwNy+hCfsyqAQaErUH6HNz5hd7EyP7zyOd1ruySWJLO23ApuBSOkgeMuY43aQ2tlvW8QBFmzHXIc7zrV7zALmi9BhkSKIXfpGCKR1v3NJloeP+f1nsHW5Q1a5KGxabhlM8OEwgz6RFax4X0TIcRbQrEFcd3eFsgtFPt+F+xo3parbeiHu6CqMwM5/+1Bc5qrW3xpwUnhp5+LgmgbiHSKR1Zk2xa313s0+5ArzzexYYimsU/PLCPbpxNiEwc1vp76bpX6/RKZIiQUPT+Irud6hx8xVv7Koee25K6x8M6OdJEaVhduvvkcjQy5iYDEE5ahrgQGvjjimUvOaG70MB26wambcv1avTosF5e1PfNAWBhFfEzLXi9p2UlLUOoYUjI6ECNlw3KDyDdt7BnNtI4+fyOP8pkMPQ0YKwARw1cf3b2Pqx+7V4PaiXwIsfa7yKeHdSgzWqeA/dYYR9wOGZxlLI0QKOtkUIopWe6gi7lLBhwgaKljY4QVBiXJY1BWfmrqeCnIkP1KR4cuxjvnDOQpx4ZZA8MHP677Oe5luW/1Iyl69w75KQaofXbMDD1mdoFwoVcb3ZJO8/jDxTS1wvSpyvj7mha1eQj/snCu4oAS2FgCqGvIt835P6OohJa5kTPb7fQs7589Dj9VvH4eBols1U//LpmVT9fvZssef6F+o+9a+Euh4/FN6/BroluckreeQUQ69Dhc/zkTjaJ23z+ZcvwB2ibuIc8w5PjkQkrBzUNNfkF21tFqTrA6XjBlaolvXX6hnLZHBjiYzo51od1oZjNAYgkBZr52HyuSCiEy75K4ivOqjFGvpuoCrKYzWR5CVkcQe+Bs82KOmgFLhHQhjJrKI0irrzmnROJyKQFE+kuCE6EQMzLZsxyrNRlpBU3MV7SBStjmTzZEsrD8/duGhe/1OV7l7cKA8OvhBg17Vk489lKgQ61vsOL28KDGYsvxMPEpA9vwpDWHm2Ntj2cgT7tspkJt0jH+mDBvjIGQkIXbmaQ0fdG2fEQHihlmHjbes+aFknBGybDfp3b60DO4A4y/SrsafQWWQFAhHavauy2CfRsk4IiF2hb1g+k8dtsexdcH2H7502QPKH2vC0LyG1nnW6CKvfChDXMTdVY4vC6oRlu3pm+r9IuBtFL/omF/9JzeyJQoFCtrMzG3/uGHN36bbem7IQb+yHF8XTOKcrSpXeX1NWEQS+tT+THeSFWjuwNGOBdpmTH13yDq7xI4cUhHB78qNfKP9oa4fOBkz86IVBGmSfGzE3C4DmNZCxcD5SjjSWhOigr0Zt4zVo0Z6rhxUpM6/I+YAomEzU/r99liMNaKgazpi4iMds/U4f2B1Y6jg+mugDO2fwz+nGIuTGxt/X4daCJVHvTk6RA28VOejaW3yfEzubuOISNBx87sZqRfkgvAF/Qcawo1d4BDvIgc3qv2rA4CVSxXSKYxcbga28GaKKV4CDa7ntnqbAXHRjRxlP+Mic5YxcLOa3bnTxn9vab0c2ZTxTdd4d7eMRq2MtBQQO3yC64ow00iK4r998p/w0pFttBRo5t8a8gZLDGSdud+88wKZeXFgK5E0aqv0pokUsVogWu5SzmHe9rzNWKtEc0ZCootNi2paSEnnVvQ5Z4Mx4iaDP/eR5pyEcLsUMwLKakpqqvOXnT8h9spve+WXo/r87T/FQj0GC/GFvMe55GjH+YayXrcqDA/JxC2yjNvRXTIWv3gw5Om7VGxPxqKsCrlxScqdoFsx4otswuC9CHO6oL3iVDX7+E3vp/iN0jfKr2LWqiJrvlg5cIsH4bKzrL5MkAljX2FyE5EqIB70pSUkM1bTzsQbGTB3O0PO5cPQx+boqIIekQI1JZJs/Sha2El/sENYQWXOpVl/rjRSg14RfIHyyxv5duKt0IIQt9gLvKLNawL7YO0SbZCPjgNFzAe/Eq8MtQceOMtPpcrJgiOnhdC/lJs/Z2VhcZVflhZVbaP8HmbGMsTyUeJP5CB5S1bbMY6Vy3pFjKTV0cTZKNDg0WbWRovq0J33c1SJma39WkO7X/+6hMxlYCHTqSD8h1KYqzR/AOpDlkknyXV+49E4QLhU1CGNgFM4FhlJ/INrTyH2G1v3ycX3IIAswj9eSLX2KPoLI+ZKWARsZ8bP2CdwPLmFXrm6jmMCirGQVKXPxCKDWwYmPShnzHQSOV+juyDWEM5qHy5OLscosNvricVtzT9jGZRsKOW09SQZ6etNknI3hqrXIwbujLdLXRvHFCN5/K0bKyKr0m2wH0cl6nv/uA7Pr7RUjB7zi1YBSgCZZYizk/BbeSdLwSxncLe+8skxsPeLpGdno+7Dsh4/zGGau/10jR5paTjtpjAZ7Ps9Rvn3dLFYsw4taV/o22uyEModLNCsKgII9R96mZzqGjOxgrDydVCBZwTvJ1Giq5VqGKDEq8icjUih8YWuL0L2KBdtX8dBajyY2E1W4TAWlwDXEtjqbUuzhH2lCOciPCNF78sJfmCNM8c2ifwv1+3HyT/0CMKoyqwBXUtC8/dYK//fbCnWNuBqRHdHs/Y2Jyjsm/3xrVcAo6NTHQn5tdjykt6p5jplI7rUHhNtBW3N34uX2+Vdzho4XrCl8GoerqMj+jut0P9m5DWdpEzsrtZKpqZ+eREU4jh/MA7EiJNBH6uX+fRQp4QQaRFvDJevLy9FjHlikOHBKpwSwItvGyaAlnIKTrwrE/7R/MvrIElaskYbesw+LfTCrHl+6MTi7S0Jvb3HymCkgS7LS31zdlw3JqZ7MRYmWmGuT01d5Y6kf/34LpCmbEFhJT1QvrEn802uMYTG5xKLMgcnoemGO/kgD4Ae7GhGfTU9WVOaBAgGVQv6fPgAZuTEryxzrZ16K9rU6EJZ8mSp1PF76S1njkNOTExA/+rDXio9B8/J62PCWa83D/q5MAcsTKBBkVTttmR1/gV07LBj311kSIEEEHCgRUjVD4JHm9ZQjiVgKYZGxzkzj+8LiHiIc0pHOrTmq5pIzoUmVvhfjQgOBV3F452K+ULHdEvbty4URsjPmp8WjQ9h2z0O4wQF6+VVjc9d3kQJBqQi3yUKshnp5YsbnIe+1hYsfnX908exh+oTC7RJZ94qCFYqH9QPKcFbvd2pZh47FmLmoOL4b0XtOp0y9LwuZrWliVUVmseQFHBvuvxessck2fKmAMKYoGmdhR8LMu32Qrdn4C97jERDNtkyZZmXjt0Onz5gMvcm70KUiVimTV+ZESZJc3xiHMX509VnFnUtOtKccCe0Y79Khi9Uy3/kbH04GojGrFFqwxiSllzNdFrf53cuoUQdH72dKKZ2QWIDy80K3SKZrjopfMqkunuRoQZtawZmmK5MAHD+8xuekI5tr/j430rlWbwxKFcxpPwayyQCd60pKKqTHrnZ20rzavMjihouGX/mMuYNBygBSv/WQ+6ZLPbo2o8uhe1rdm9ihlnUl1VlRdwYFqp03vKLFPyqIh893cPXADwfHZAsJHODu8nQ9bekNcO/R20uHhEBDSZ0hR1FcYDjeqI4Us1hsFtH0laIEj9C7HWYBE1P2hfPNT/Nfbp3uXYdvzXc400sxKgQNuGuWyOLZlu6/r9cWpAqMkBwrU9SLiMZcTpb1FT1cH0Kcwb/oc/VOXFNvTvWLgKt55o6On7a+UPsyO1SW31bRqYV45Iakate66tLI45r1GyqMZBcgK/tXkOoRXQe+sy0hoztPBL2UDncoMOHbz8I7kjZy4dAEfhRfdyXj7999p8b3Vi3YlgxOmieCiAdMV0c6lqSFe7mZDZHjPZ60zjCQVn6V/7IF6QoAintjIZ+QsWety7OMeAjiJ6bFgBK1DBlqLNV0AIbaxeUU97Y2D2azXryYB6mKTOK/ZDIsIANuSSs/BaLQ/UYk+Q2asxksHFHV0XwMuDbeabc5Ddws6+F2qDLhEC+1tKa/3Snq85n+DI47CS1nbPIDZaohUXDBQ6D+LnJoGz/oPm9PcGSI/sv0SXhv62itL1K7ZexbJ7vO0HYIXXBUqKFO76nSBtzYT3K7WMUSYv/849X00Su4P554pcNCqTt4TW0/L8rUQAYVf28t0hCg3VbPJPemUStt/iuulN8/8sjTYh5Bt4xM13Pg5etfJiU4BJB55DAJi1840UZXvpTBWVoPnTPAYI1mqXcC3T979yh35OIeZUdnBJftqDoAbpchxIhVAQuPk7gbcubm094STKFMbRKlnlj81EHmArb7JqwRUp9pWmPUOTlYEb6GqDkHf//PVcEbCZrVpCqDeErJLIC/hs8vZWmf+++APJ4fLaypp5kxhRCO5NtGbZe92Yzeae39dfWnwN+1yL1NlKREKl5XpS9ECl5Gy8JfT1WbTs9VaKPXNFciZTh041GQSE2L/qklyfuTfN9Fm0DyFwyoMunxltl+AFWHu5l/S96Mt23KQbuFIK0ScWsJyqa35bIUC6ovjvEeFxfuQMHaxBLR7ouAjCJu1r9+4T1Ax1Nq6+PaMXcG6p1FYhgvTfN8aUuvmp4CE7W5rDpqr8z6zNdNWzGpwPLseAv/b3Vn1QCwWBENO3w9A1dl90M3sv/n71DUvTkUnVSKSj/ZgFhkTRDBET+TEeoIt0Gc52RJ46hxZR2slTT6+LvLYhk0KwWXz1B0ngWKRf5o1TgY8m637ZwuLV3aYCSCTRdz/R8qrdtF0JD6yr024OPGcHWx/rVO7jZwBbsP9U+eiTHujozjD3ntDJ9pALuKkPEHWwzUSyoFFrz6d3kHEZ8vb0JnrdaS2mc3fkWBoRYKq1BZQ8Y3ptIy2NUM1tugJkbrZEXDYS/nny2jc2VjogBwU+koWlE3v8qukph7iE1GX0E08TeMKcVyRJMa0chEufloTWVp/wUcuA6VSP7li7Ao6srmdJVP0RDvm5DgIs+5bdaUJUVxkdd/AtsNfRzZ4M/aSGsL6Bev6mKDdyt2oByL6Qn2N8ZMfjbkxc+RE4ZoWcMLqz5ZHxAMDIQM8ddMYguCb90xKySiRu98pX77laxiepjvO/i4oWW6kDKTelyY9uOf8DYhgqVLe+1kvcxQwy9j9UowQsw3mCC3SHeYcQnS3d6pJuVtOWrQt151oJDWzj3L0SwvoJs9uDGSX96RfgzOqDwVFZbZUDqoHGH2texGBtnNiA+3uVXXKuZ6r7ZqbdsfgyUc1TYscHh+7gpKbBoLNmEyWV4K1rowl9VBJ1Pjunb/7dVEzTMmMLpOwy089dTsSkRQQWwo43Lx5p+6fehFYfubfBhTbKTXfN32edg1yOw84mbJENBWhJxp1RLxmkcytGRUIW3zE9nUPJyCk9y5WHVmuXKNfB7PY7rulLb0OBWo6EIsKQyNZAKknUpuBSpvwn2oHVoPWy7VG60/oU3GezgJt0WoK+OWY4Otu5/FjQg4dCe7rSeXc9Jpoj26UNWYgbhm5n5Fve6xzN1sBpXRsRKwH/udlQROeWE+6QR1lFF3s8szsFuyJxmirn/Uxp8k6W4/bwVDebaxNyAejiQKqg+GGeL20RE2eEF+QBNjASctFiXWOf+ZRcwAWgJGh8lH/uPFtenrQGd8OPUm7+WdfiCxHZHWzALr8p5QC5bNUlHi8OnIs71OdPYMUPosWwpnko6KsinfvKqBzhYslpYkTyvVkx8ykNo31dz4cNq+RMP+2fRHfjme8duSVeZwBltywQL+amOWaO4k7Vsc6MSEfblAdtkgMaqBEVBOQ738gQ+uSvV1av9V8EnPXD5TVYkAHziQb8TM5irAi60yKr7l7zTUTs5DYRh6Rysf0RuaIjekTETAquig7+1EosWcJmHr+DciAj2/F6ZCqe6Kj990IdrWkmUnt0MThUbW0zcxYk6w5Jh00LP8jcxAWOpQAzfTlOdgu/239sUWoNinHAQvuvvdNWvul4uJB1iG77eQ1yHB30thLCFuzTCbEhHcf7NssQeb6022Omv6v+kYZBROipzsusjsQRBxHxUJkMOFJ1DLCSqe1Ts+03aivWlxykJFftw8L73BO+/Mp1TES+c20gT4wDOLEqdT2i8BrtWPqKGakMs/bvsiM7cKm95Q0ClIRJeDtnTkaXkTYTf8zyHTr6zirOJGRqfv9Im8ojkzJMHJff9ZVxkv1xK+4VozMrKup1+CCOkhTVwAP1glqFj52OHrlYWRWJ7yJWvMIj6PxhOijGEedi1KDBDA232C4/2e78amik3jheH2zSm5zt244+hE2fxcdO7QQO6saZJTWU1g8CpMRfTgeAxaoKBBzfbXNnb89SG15zXD3fx8xj4DORYdmw/XdMFHaFm94b9QumhCxjG9kwDobLsOrL6+UvyiXNioPBqF3w7y54K5f6DxNVOwR+E5w2PucGJfJE3R8+oXH8/uJu2fKR1jaaVhlQP5dNZoT4gp05Zs+7zEMcmmycyAx5I9cdJfbTolFcLYC0d5jbtxD/nhPepZQA1Te1dItkrH86RQse3qLeS6h9zzyvVshNHPhfw/wTgSQRJ/Iga3ijO3C+n4GLflgaPosJqBLqX4xAsbAnhxwcet79qd/Q/cFHQl56CBJ3OmMgPdIk7EM8GfqaOfIQyVzt9sWA08BAx6bJVf9DLJ/yA/Kb2olSTQqRIs5lrren9dxXr7pzRr6mY3yx4+ehkyxlvEkp9ZVys2AW9tF3Un+tXIHgtybvgu5d1GNwsMydXrCldnj3GLkSJmIUPMneXKIvfh83q6/5JP2lfIw250faT2g/nRI+A7hS/Wbf39HH4+wnuXfHWdAFpIkf0Rxr+xnXYfFDKbypqqh3c0saY0kfNIXcTg0TTL57cdKf/Baevs7mpf18DhwMipvWCaWMbaQ2ouA9D010ovuwADdMJ+c29rADPu8TKxmzN/IxhCGotZ9ZD/bPe0895pdIzVXkgvbbOdjQ0H2jyBnm9Odo6gbDMxE41W9Sujza58d2x9pNsa580tdcErf78oRmXfhhQmvkZ1+lDsMVBNvlYE2HvfyWqScZGmymfKUvlZhZlScVHS/oVutKQqQgm4lSMbtRDYAOZNvLjeKuh3WChfRX/XDwsJW0EO1GiqiZ8y00WeNrCVCRvwsLCUhOKRblKf+1jhXRUtrLgGxVHHLrVAk/vJCxz5PYGdbBKj1raipSmZvmasfVrXP5TTYc67OVeytFAz0ZMsbw4Pbaulepp8p635XGDvSpooiMoPY9dkGwqkBEx2YFi//0jJh6PdqfbXrf0u1cdb+lDiShx7KFGhfwdma8WfOqFPjWbfOaLJvN3tz6feN2x8p+0T6kL6u2TbcG0RNRc9PfIY0M3a6/TLPV6BAFTEithz12+LiH5KrM9kWEUpkjI+llfsWb1V3+Zr4Ek4y2mwAhdHG0x0fQ5LZDzhXh+RJ0/unm1r1e1rx4vniqEG6bxz929lAL8CnwwpADiwdVxOuDO0D6mRPxKmRr3rahFF7yvw5ZrKpwt3As5i5BvWtYPid26nZPzkogKX3fp9zceDKX1Re46GhWw4OsE+aHblZGqYyf4Ldd1jMy4JBuWCRTmPSuiCuJpl9PzzfTnf1Z+54WP7j/N3mXaUx3ljtIwBnZfNlCiCT28rMX7kDalSsH22GFUzQMpuGRbb/6b0ZWDhdEKYcDAfRhK4Cxp2hEU7ZwxQ3TfsJsdNF+aPljJ6+oHDz7iAEkiiw07fmsrigsgD9T18v/EYJWOMH1xMI92t4/ALdOuWspXLNG326xdWz1kBYLvq5drv7ENeknwOSwfqxdo7epYyR3dukNlYM2KE3v9tRqmyI7qmledefYhOAFb0ZFOoPp00GGWG+NFFcSDdJpvGgtGvnwb+0f7Q0oIuT1wChUOc9UguoVwR4kKSKepzr0HgvMr0ConCXNDjUhaQYV8MzcEV2Ex9+k5CpMTF6FRXEkfCEjKMREUDBRsYHdVX4m/5KBQhmesCyLsEfOX88iLwo9tGGpw0PlaHMjjw7KJfQE3FtBICjue7kGVSoqVlvkEOj4E5P6yOZYo55XZ0eZMb9axpNlmCvLTrLC8bOLTjdHrjgIUFMSxPnVuM8ht9BZhIqoNZFVUoqYbmPuPErz6g61dQ4f0iTJ+mJSgXc9iiWfQ+Sy1NQG7Xt3Hxv441SvpB6Cb27/npr1mpwT/1mjjbN9jnOMhPel0XarTWeu7lWim2HIKANOnztuQHVbed9WfNKtZwgTHYHU1nRPVOTyK97fvnnFsiOdbdTwMLe2DEznoG+xeEk7K4ExmroE8jqMDYNEzerfaGXS6PlIO7U4IBcQL4yP2eI3VcT+KEGqWopntYjti15Nf4idLxPZoWVfe1hhz8biAk3PPnk37uyz3eV7y5ceY5VPxuOzfrDC8y4cOs3FFkm/Ue8yXKDlXrdMZ9fEHn7MNX32LyrMbocWGfs+A271SvUS2ApRIPMitcVsm1Ho4A+OtGOoCCFlVQirguNBJe0Rr+p6J3H5yR92mIB5nGibeXtIqbMOCMHkg7eaC+GUPznoZnU0hkjxC5dhdriiYX+J3LQaKhwnNm+oVWRBJ06iHh+ovvRQ++bl3BBFdU4KtBIVNV3x/iFXqsBzGE6wrgDIMmYef4wDG1aHW9IJQRU8jg6RwAHrgAGS+WLzv/BKHzjwYlI6HYIz86LMIN9zvwYSznckO6GsfnsfglLCzwpwwMlUUNXJAmWnI3MdMZ9Kel71xxPvN7hML9h/tnnIn0a5UYAIAejy9QuXXScZkJE8BFkPi3cNQ2SlXrMWoti/iuiZne/Lq48fKyPWWY5OP+6xb+XuGpkSiXbrCjBLifLFe1tUHoQ53/QYNTwo1EP4g3R9IezKv7v1xqA6ycxWjJVKpgwJruYBf7c+XQGhBdxpmuDMWwxXxfcP9WYyKi7mUCoYP9SCWrYMEb5YXh0/hY/s8aVAIAO0ug5vQNPcgbyFhmeUDuYvG5inlnu+np6McRiA3VQXnaqjjLLWONCVJLtm+bY1Q5DgkF9L5f0kvZEAy8f217Qn47U2b+wPggLzCG8VVu9cagWozk6Lj/p5KI8Ol8rrMqDrKxJvQzcPxAAnpobkquXpYOqrm8+eJ+EUzxdtNV7H5wIx0c4LDGcBLeZdIYt8c3JKE4AFO9phnoHQy4T6NUhVqHj+RL+kMUW8XahnRiObqjxgiU88vY8n5eWHDRqC3A0k8SwAK/qMC4pqGoQO6GswNXKkyE7INhn22TednB60fA1DvlHF7w2nu0zM9qV1upPLulYbclPOATrz8jr+UaZ/ByqxdLRE2T5Zes4G4bFVoPEOME5E84scIjWKzx6CQzQicTyzEASnRYc28oUbYcNLF69C5MKmnTEyBHTCmeqIFUTZEE+REq/6wgvjWK8EglfJMHhZuW5FpzYxBcH3BH22TFA3thjZ0zkhG7pnSlhBVGOexERVMafAEHv1BwvcF3a3O6dFIAukkNcYBgxnClwZc1PhEWFRYe9xtisjHyeKViDFbrX5pF/hRk+MUoo5g2mNgIToFqoFOEcewbMuvP3pm4b1XuctI+YHJz+D13NxA2uuJVmK4seIj+p8GCRfAqVHknn0X1nyzNRTE/yl6BWjOf41dj9ktKOTJ2cUYtJBkdJe+WQfJ7OGXYQJKY3/MA4oYBPKwkcUN6liijdfyPmBp/Tbh2jp0y5BeieEv3RSUnqwuLtZwoC72l9HshlwPA6yH80JdY9wE+AgsX+dbjEjdbKIp7iSA9VjuBhvh8dopOP/BoAH7DftBejEB1HeGeYQCzh0Xp/h0ek45tuYUtKbRCufvBlSje4tmdTavgz4K87vtik3B1eT9CxWdxw56LTuyobizRO3aG7sky0LfcOfF6YTV3Xi3x4IoU2Rb45UHQiGxPFLC0WhUqM2rwCjICacjoJDCBTB+cpESPMcjtSMAVceuIf677mONf08Bm4xwaNJFkG/pz1o9vlavU4PHhENlU4RFdTQIuwAFq6lYH5YJx9Xc2sWZ9lILkDP2yqnWEoK+cjH2bUg571+ZDpHobvlghuNLy636KtTreer1tmcRmay0ilpIZ9tjXue2Z6FYV68fq/8rnmL1/DtCnJ9zn+OAcFDB5LDmwUzDQ30pNylJMabsIesTdC+6mca2PwX/dMLI/iGBDtrn/Jcv4B+myj8rn91544OcTe/FD3Gd75iVqX1MddC8bc0EAaXWoU9q0xbNEZIzAA7Cu15DDTrGZ5iRuI4+GYlnydIrrmQSUVmNzTAJWAnTE0iB20yRdXaoUb1GcqXGTGCrVk+DwW5m7eGFzf7bzKoVnBxqNsst4tUDta3QC+IxIUAQ2L9qF9oePegr3HBIhM4850v9YzCzqI33kuuAGwCP2h7dmjceUkgElih+BkKgQPvRBMzR5lcSWUWwGalOwF4ZbeUF7K3ZLTOZq1V6eKa834f+sWRGK/FYMAgDlYehKP8XgGUwSR0p51KQ7K3RCOcKO15eSF/+Dv3IM6D/DHJy9SlzybX0GbZJURyKdHZznL96n2IRQEfuAGd+a/i5wjY3PnpTyWzlOYrUcYPLKJ9noP1Cr/bRYT/reDUZuVMefj55uNdUGQ4p5FI8E8cbDMFtCvTXY98M09JrZWaXXkK0YIEtx88cdPjy5m3uhuTb7Py1082edi/KveNpkeK1SWvIwEvTMfrXK+2H4+ZM1oaK1p1IEvdnVySDkLypd/Skm5fvpMFnV1dRqNcxXVBog58+hwQZvwvgTEHquVpxWzb4RpzcjaiN2RftPEEWELp/AZag+M4YssL3xPKQOy1+txSvWj9dkgy24+hMNX3hhXpfdRqVUP73JlyXZyjJ5nFCDpjjAOfLbnPHcI5fHP/0IfHLrGgKvOClBhj4U7v+O2D6fy/0mokVZPEk6IoVqHqVtBpBrxnjXtJdG95/TSbqahkyMx2NAOnIHIrRU0ecjOqSWuHk/mFwN5Xvdas6GjXpUWYkm+8HnxxrQhha4Zt6fhUYHD4qWAD8sITcgNWXOrhlIx32uuP+TO6u1FqcAC+Vf1oN5obgNo1NIBjUfuvw0C3bynDaWz/eSfnrM3/yystCShS3zrYhoTkqtTbKEo4iBM/DirvqM2pNPDQxQFV+nQv14ZL4AvMuFx7sQ77Oftk25ltZOh1Eurkj/OiZapgL5LkNiB1xXtdBuke9BaDxXh+EsB3zXb8LAvrOgcd6WypjFqSybrLZfjSHoirT0Zq/Ln5Yl3UUNHT3DQ2uq/JRZa18QlNirMsIH+/PSnY34hQoFKcXeRa0+bHyk6KV0meMUepLpsbaggQJNX7/qnC/CDPbAewEfpQiMtOrMQQ7PmsBGEqm6pDO2rYkV4FpAnpuacLda3xFl96ffuuLShhEMqAO5S8cKYANCzUffHULD19KmjJ+/BcbUkeBlkkHCE8e/BYCg7E76iguTztP57zqL0jLwphqAEVsyxoHZGe5+2KEGHxiLn6rWqcDHHUtSVFHgvk7l6mKTcqXRbvobZiorWfzPjlIIkJFRZF8UHRgLwaaEKLQx1rLG5MYPgLnjs1OAsMAm1Di493vazgFSI/QpAApeZ4cV/61FrhF2UDpVuxAZqxjmyrS+kqSu8i4sbiyBnfMrYVJ3f2mbIrYEKehgAkHwPqFTjh6TcEd/jaDV2HZa717WufaNql+LtjqB1WBBye4xLiyZQRwqfcQ/IR2mk+e75Bs91eUihdWbwx2skwk4bq8p8ohvo+lCItTOAiB/AbkozOO/nenqLuMllyVLVIMTGlIWgRP5sc7lIuhZjaa2sgBG7lPoHIbqiKxsqOMJXpmhrHc+6DDO9BTBFoGMaZWJxyxw9Of4n9NKUoqHA+cij74l4/IGM/g6Tx0VjQT4a+d6uhSXzpOZIANe/gqJl2cRnMBYzX4zzRMS8fWeN2MmG5+ocnWNUhFPDPNIdqyaE237yK1QEmLjZFt6d72KmgRlnKz6hs2TP3Fuv6e4HpXCd+K5n1G63Sn/ESO7jhDfjz6Y3KDz2tcGpVtj74nGzYjH1C0DRxKU+Sa7VfeOQ9Da+YNBfNZ86pVsMgTD9AgWcjNgisu8nQzKRAMAk0E6vWlhupgJXUz/6UlJSyBvYxHTLfU5KsUzY3EM1vyf68y1eWb7pwEABJoBI0uv6VV6uu2iMN3TvNGewgXq+N0a/fhKCweSs6HQ98OuO586wgpRW4ECnjdXUUSk6Bcv6XzpRoPvjByuiEabKTXm0/T7lAoYv8u4gcSAqqTJC5Ct10AaeoWtjh1qxj8+dMPC9mAev+pBsbuin/Z/SWziEK5Vts+w78aeL3bnkkB9iYzNxX3pMvcPMbhe5HDoB4cuwYZmNhFUaV/yxNZj/8PsjqOlQse0m3kGylyvjJj9R6TNFPBA8swZ5OJeG3jgFeLKMiGcdp6K9vwcgMf7kJmw7KpsLBuv0oK7N08iv1jAPel0pDa8mi9LnCEo5kOF6YgXFW/wXykfSSAuWVZLEfyF2GccKprJI//y4hNoR6juUirrQx9GSGcdYTOemqHvCA5BNbQTxttl1k8aXolQ2jpuHKtZgFhKG2TcpMu8L2QV+Gj6NtRTiD7X9NThNz7eVOjHFcCqVTQYLGb/2f/wW+4EUllRcVR4n8cMeUw3yEI7qZ10NiUjljzs5fPeWitsSBfYF+vQU0uT/nS9U+cMppYcBNLsKPPfvUNECyDDQkg9dcFTerE6sthSMH1Yw8pFfkPtCYmib5e2Zx+JsSKJUb7/I3SRrh9GyCyN1X1S1ZZ7/RmsQ/9wOSOsNRUTHOjxDPRLaE02UJVlI7WK8GagWRnMXJQo2Oy4nec4M2lqf3cpCD6r0SP/LrXUZ4olYNZr/YObBH3md8dNLpvm5pZzBlsJK02//o+Gq2oblsND7NE38NmZJ3xp/fQ0soFkAjI9AO0fDvhZcLwWQs3l1AhhqYQhIdGh/+5nyD30mBiHIv3tBCzuwzJoAMeNTW00kS6BqX+vzrJIUXfjX8rNEmWnCMbA4ClfgiPTzklv0reQxg1X3I3d4fmZjTVJR/AHxXaZA015MdrV7+rM+MSfJxpWASTE++bmUZcgTA70QCJH6XWk1VgQX3Yr69W+w6IFJ6xR16Dmf78dsOJ1c1EnPQRkoI9d1kAVkbzUN+fnVH97twQ3qYyIKZLcH5JAT1NQ8NfH8F8Sh1R0/kPIqvHkNJ4UiwkGPnyMQyho7OFTsZgTBR+/KLZp3RCHOLK5FOLp9peAtu1gX/pFF/S24DnhNhBMvQft2qp9SCk/hMa/aE6z5sMHclKiIrZhUdEEuM7jMvZqPQlHK4XEq771TzJFahB25EU+6Y0+RpuFwMLAjbfrKBgGnwuLHFpBM1pLbGSrWCypcMqkZX7XoXRIc0h2UXNu7R1uCDa3DQOSZAtg87ibu3rlgFJ3q//iS/TP2dIxTig62aa0v0x9aF+vCG2VALSj7WU56o6Vg7yqa7dSyqpRsQDnWEbqsHvKvvOW3EjBp91mTwkVPVTssy35OlNnNgu4CfCd5YG8tlpG7i3cixA3MLjyb+dvB8Ji5J26+ZS2Gr0zodJ1VdCIRufyjZvuD4DFQowy9ypP/147LGB+WSKWHsxb35hLFitHFLs1pDeDJj8s88dVhQj7+1l/mRQpHTMbmKb1xw9g0MsnhvVuPxnUg4iFfNls3+OzD1EjMYOwqRX3RhjP7HmB34mH/ZpdGX0gvy2UFJCtqwPHoPEiPzRY1ZJUAMXSgpxV3QxfpXTeE3qaWO/vVjOTOBgCYw3miZGFJtxGbhNgkVRHJFYqVGqDh4fYTifgzfrZNxgZjlPYMruhXmGlmPGPRiMQic3jQDdGs3Kq33E2mr+6yNGlvv66S7alrIEcP3YNrqdac8Vq836JZG8fdIUUhYw8+k1YpS8OtifJnJfPjG2tMRqq8Dypf/sqZxWDy89RWxkM0mdLwAj1OHeW2/xVDRgoZTuBTOyUdlr098We7AHKjjx8seO/8cBnp5AKfK5ftH9KqKncyQia6KubDvXa3CvG7gOr/vMqSagThhBVd1wNSTnLOgGxxg/PyIPUmhKMeuioWl8by8oW0rMRLgXU44wV9ZiJDyhnClkhaznv8ErfHYCKUqwNX7YSvtsvSETD+fL/rp733blskOmEUxBuF7xrZwuawvh/K6v/qSclnYvCHTYQx2taAWNFgLMZXJuc5wJcLimZrCNcSDx9nej7cEVFIK7Q3fwyY1EU0W5emCPXyv2P2n+IbfNsEnvVV+hX7BR07M1tPpyJErkR1D4ivJyH3WsjTnezxotUZkwRz1kwzUo0/McVOGkpU9lbqOT/euHRbbdOzzyc8uvy5GEmXf/JiVj4+Z7eTTzmBasgDRdglFwIFkiOmUKocDnrxxqBxcwhbWSB7nBa0I5ANbPTk+mwVrwUASIrbmAy6vGO50gxslMns68aFuPXwogHm5EATbvw8ytxd4KKB1865XEYmSz4putZuemFluvmZQDwVCjMypy8wH7ERTju3V5Ps94JU+WQWKyqqFTpe5Es5Dkm4xulS45VORmLptbieFtKPDIOBClWIFrPZQFaWcu29zjHok8/hWjFr/N4Fb8jxFBN268iYjcG12nIlWRQjPaTtRak+CKeu2vmS1FCQVhv9kaVeOcJ7PYXrAPT3gkdgNs4bekvRmbPdgenYjcrYtUAO5yefTMCCgyPczdL3E9QvoAWuQLqMz7GphoVypP5Ug/1n1AFCOls0ulsAdE0ExrpFiyF0lwthLyq9WMfm4m2/ZOqZJrnkUwGWR4lBh3u1NQe2zXmtO4cCGFzsBbf3gSFb2dOWqOlKSkwqqaqBZaraLeCOsT98WKxCtGD3wfgh7uQun7sqfx1gOcBjkFP0UH0J7nz43HiXelG3UOhCKkbPc6dQWVOyftE3yPfP+TZkFysr5enqHLLLvFlSbYZrhfD8guB90c7thJv1vrV4K6WGJ1WDSpxFhGL1PD90NVW/FeN8DriQuyLWCuhM7uziN/VZOwZ6om6cr9DIK2AZHfQ5do2SLsl79ZCDjZRSg0j4fyoi7JOzcQC971iYTyFqtICgUWNSsvxQkm/k65aRNLleb1aNQ34bjvYB5v1VBhwXQeR9u/ZRHpHZ4qDUExJohGEPq41avPFpZpgei+3D9BtkusJVbhFIfrnD01CCJRmyURWssgIid81h3w/nf4jTrAAk/FigFOCpXXO4/zYHcWIIW8Z0QPJ2gB5I9MnwGIJKDxEFuUZ9GwujZcwjBl6JbvcExJUKzx9upTGpU7D4Bpn/2LavFnKWiJEiomhppz5cxder7ibTqdm1SgCVZntWq0wiakIML05nEJ4zLTScnZDFtWZ4d4gNsyaOGYQgzaryLEbfvfCRnCfbWxQnfDO5HAVbSkMPdBfdyGPTby6k4444boHabXNHSP3Aa94ti73ybuG4fJViUpDINEsNHhS6l5JVEfrxntMQS1gkDJPGwyFQgE12wgqQW5A3D8mk2jnjf1MT+/lV4h9Wn2KttzJSyNfGIPM8ac/3YKRF2cxlRUiBOqeBBiaJAiq+PyMknPn3fiRz0XIB1d/jsbIt2rwsPD+nT8NqTT/C+qGdudxk3FJeuIxmzSdGCAfFHf49FCApvP+SXcIf5JHd31fYRlhMaos3YmQhxMAnZ4n9dyoUqfXDffm16HR4lzJW9v8m+A+p7nTltqcwa4yA5yNJ8Qstt+7FsiaBkxUzl5POnjLBB4Y7KJw64edzyWuM1X+fgLUYQrBu+wpbpzSo+3U6/NPrkQAxeJmuILQD4KTn4Maw1ANv8AtAu6Blihj9ALQQk1lRW1kJ2/Lp1m5d6ud+kZLeb1q+5p9g4H1hYUu6VZvtkRZpNdjD13mxhDquv1n6/8cvaMc6GJC6VzrqQrQVZ2aAt+qAd5moLVL0+CiE67+c6i7o8pwU470VNzKtExue6d0XUz99rTi3lqhbtFovtyjobDS429WC9leUysM5ciXnYwAShfCOXYg68Xd2pUN5ebe9CNjQ31VTY3eAxFKH/zTmEXMi4yBOok7+h1Wqt9+we2bsmLBGVh1qr8sikO/cRxu6TN5+pfx9lxFEQMJs73DbILDbiK6BlLKAnvK5P1PpRvtjKQPtGBIjqTBo811WZh6U2OgPYWOopaTBopdmFd+FPNX57S33+dJdVr1JAkMDQvsLAVw1GBxg3vxke2lT4i7hfAsP+jkoOhOWMUigcpDZCxBhxSrOs9SLrHyktM69wz/JC5atDJaehiKSW75xmM/b5Vbx+98wo4z9jsANJ92hHoPsWP3BPOD6Ixvs+L6dPYo8ZHdwfY0JMnwjW9cKVsmaMYtpB8R+uMqZTLUc6vjWFwFI5/B3IU80P2jUP23OU97WR28L7H2/uPkmeLLzmbaKdyLpxeyJbgdBFXt4v2ykfQGHhv86+hyEHkrEPBKryW3iZm+ISOHgOQN5/WX0iiQt7nVaLTWIxrLBJsNLLjbe810MIPg7zS1rQMuU0FgjN1Lf1k9jyIJy9NUgGCB0FiPOV6xldSZyRRDdBjVZuhD3gIFBMtyWiL01Htypgm5ZZjbHxvc+4kHDN3GXzBiR11IEcyBej3Z0SFXBYLHkWfJ2gyzY3QOglSROv2fzTEi+iP8tzw6q0ix8NPR+uC4pV09WyJHsWY1BeuHd5sYA8Ak7Cc7nZrfcy3DNqY6Qs1Wy6sFih2BXC4DIaDpWOf7HUrK6y09TsIc8SRuxhRQtxTCHvotFTKJa4ZgeOW7VQp69bucbSgCxZqhqK5B0fYGCREhpkP0O6MtW9WBZibyp5FduuzMSA+EcKPEhrA1O0RdPJIBgsn1Vwsw+r+fNHA1BE+t9jtz02O/bn0nh/LsPQ+vxIH2J68/yVC5BWaUt8lATpq6EDnyNflT7dc2t91x7i6YrFS6yhnt8nXpvsWoUJWLl3MEvwTz2pJLeK+y7HYmRb4Ncg39Kl4/B0gqkfZX8T8BiZaYkfY1WCDtBObnSXWqFnkp4uN5Pb3aqN6YxwSFVm75ugSwtsf8ZO4fBzWFXflpb1p9QQdaLSLtfdtl4p7b8wJdP7bpH83QLOVw0tRLfbnyzKXDj9oqvPl8prDoQbXShOR1/0sbkTW85+cS337fpVxku5gVpfmY3hBeJPdnKNpkuybnYtSPVsW7487t0ytzFkTSo5lLwYGnlqufts5mkdqnI4yZo/MC9zu1oCpdzBK41/6mCX/cUiacz1wU8W2z+adeaPl91FALXOuCU9BG6URJAkMmKGAFJ92pw6VNcmIYroh6axlbGk2LrNc5H+sU4BmMb4rSYlgVJgJENRouyKUEYY6Us7atqfE1kEvwhBJlkukek9c7mv4q3MEH5v38APaeabT7N79/5r8XxTsiFc5ngQ52w8BbOWjNhpz4Q8mq/gA2sDtZFJD2jCi+vYtzR9pdo0bOtIRxIeQVfMGugFPN8Y2BTMiV3Z2f7jZ5Y39C7mipCszU4zKJvcp8Orn7s4ZYUMufxCYuzjbcvPu1mkNNEPikcFN0t2yLDH64mw2etPmNxH7G1ARAx8EmLmju+Uc3EFp7tPc4gq81Khxr2G2fMOkqzMzp7N0cGJr3EaoabwTUU/CXsqnUyCULS7dZZV8QVUuVIrMVDs1NTyDUGnvTXk9N8pKCKWAf1RYXzEkTFl3svkl147J8ItxpsyVCTsPH3pLscu6QlJ7pj+tVfKtObDGeAxZxWYaN3CIK8rouyLZv/itSPipgeA4o3vcwWdwLnVwukk5LPBTYNySG0Y2aZeJkuEjHChT9sQgCP8olH8dSvvGWa0YcsYLJtNvUKgHJ+X2+rZqjrhQzsf4KzCdIc0Ae3LFQyyIyM7mGOXvjeI80YSthYdhEqzICYPKq1QCe41BKwbORNrqIQ8qBnr59BaRhJ6ImVXEr02ph7XT8xpP734IN3fNt60KnmsWzU9xLbcy99TXzoph3JtOOGM9/cHKNAkqOVH3N49EMLQIBZmSTOyZHvAz9wwxjs3g5JFyCTqZ3g/2iBOB7aRDbXkBwkrRSkPf7ld7Tc+02QLcTsicUTUeDYMQOSgf9fw3wQxt5lXDGNg9amVDqGCxKzhcjr5J4J+0dBZc+PdjE3jJn4neMS0rjnodMWqfxap0XydXwpBgnQCx0UjIBPkcWcgZUQB0RE+Dqgb2Wy12TF1uMcVi4mSeZ+i9XwYrN04sNvJN4fBL75IMgnWN2BX8wiJkRHkXWnJgH2hQvt9p3M9ALAiOivSj3pG1Rre23vsDlu5OMkTj+7i/V1O6Yz+CwmALZ9WHwbtf34thY3tt1tLa+BH1TIAV4swUolko0pYLpNwr3VkclwJr2Mt9Kxpsi+hpE5T5Uv94ESWFsUu4thDviEgdtl4CDnXXSmZHypme6XAdMjJajNfdja+jzz05KCUmkxap+paS8NYn9GZS+wxwkKhAGMnT6QU/Q6Rj/9sQaDptasSo4hyG1vMobCI3RIJMelUu2tEsO7eAPRlsIwwZfOSEzMw0Csl0uXnekgpY1RLWfjdvtTxt2d6L7QnrJ1HFvv6R5Vfh4id52eDRAU1BYDkJUesvHp8OQway+L1PJh+S7uKhIIqDfgR/FuGIZjTGcBKfwGMABb+C9oX8CkP6fOOOOgRN6vVasjp4lj48LZxGySLMOponeY6sy1zbaIvjocUPb4pWrkMJkBhItAirvzbbNrg7tcLfThZmFQJgu6urs4vhxj6bv1crJCd8k0V0jF1c8glHAiU1a3HC40ExMvN330JHQmaI3y5xvtjqH38qRJiqv8JDoTgEvC2iAUsh3FiShhJ/2AYfKSP4Y3bBlwA1nFZk0cpooIN5NmTqnnhiDvNDK0+H6t51TU69MJ7azZG8W0Vlg+19IOdWYs7kz+tOamykOB2uMTZOSqJ0JMerxUtZOrAYi4lksm8Yzm8QybxqcJNHj7TFdbHebfsZUlTEcqBVQ4xxPKWAZEQJ0EDD/CJ96qFgM7IKqvOpPMj8Z1lNKTJ/3EVUFfBFyGIch5+Aw0V1+487cNspSxZexP2FYL4tHFDToaqjUefsPbbZO6NxyV6zwgxo96wOmvn0L2UIc0yk9Ni+kwZy4PcOLVO+Usl0/Lo/k6bgTBxQEtV+2HE8mnaxhFP/JH1RyACdBMsv9lidi9GYljsZAnkkk59YL+l9TNdS7ivXD9C42pWbXrs+H2HdtGzDRhtejdoVujx3/vHQNOXYeFmGB6BqWCUI1VEzZGUm4LxoazorLgnwd99qK0Rxd7BygDwOTXAYtPgLc37fNjvY5ubrSTpJL/pX2W82PEL+xgQlBnnf5XNoj2kMH5uENzH5VYSnVdZVEhE2l11PXwwtfV39OvcCHlsStFPl5j/hYIVvs1pJduVuOciERsHqNkatHD9NcxL+YeZG+tx+xDVncAROOWvVWt3lqoUxrvyPUMAzzC/qzZNXCeBPhuYUgYjWoUh7Yd/DIG2k3OcgwH1H8uTHkXqcPDFXPdiVaBEcAuIFIo1V4czbXgqvF+iIGqPPFHj7qFnm+GRa/oqVGX96AMQpi7ix3sbrmrMdsCS9WrQ45LBzGYK3cZrcGjR8amAf100rPhM9MCTSKJifSdkNBRwHbpxt06YCaSsMxMETmHDZkp+mpsyzDco7ue0Zv8xaR0z8ANiW5YwLJXegV2CWCQm9c7mNNaJkp7KzVOPHwQOprTeF+jTjrastY0T6kppCu7osld7fsxK0hUjva5nc9UOpZTtf9nismv/sP5NRdm643LhA9o9qOPmjNeT22YC/05mADy6UvghO/9HvFtkchZTYR8dxXzklT5ZfbKUV0EVyyAUvCmfXA289DDPGChtL+6Y92kzpGoOkG9jXHW/uUk2IjXeRTuRNjkICb1vCW+OZIhhOb1d3Wwh6lQ60SqEF/2jSUkTW8aUbk+J2bC12rknsUCfis8OHBewBur9Q82y5X8N2vJvohWv30kj9lBUjCcGnusgJ1WCNo9oPDe1vwV9UL08Pp1FO5ax0+aEnPnJFhkYY4fwG4BK1OmQqngZYNoO1yjDd05rrskIwBCZ44dgjMETq6hGqnAvidgrt6v5Bim3YFmMe6sZKsAwEls+BsvKeOHfmlsUqVh8GSwXCNstWqCBxQhyCLcNY824ThMvZg/jOVX9v8vDFkc7q4+/qDFswoNHUJCe7XriwAU3wjxNrNmAso7PJUnKMVmqKaGlSgTwp5wG562FzSGA+LMuAZKRVzlQ0FPKbJMaNYdpB5o0/aBJJw0czxMnizCGHu0c87xkBVISbnYN2i2hiy6ziQ5oLgV/swcnBuyt9TSU9S09fvvwszvb3Z03CWjxNu9Vzl9GxHXGj1S2asw2BxXTLonG05uKL8qn6FuFy4MX42S/kVHds7VlU2v/RcGtIV8QYfptlKY/Atkl+FbLQbMTB2hEAGfcKe8Vixr5fEjSMsa1Y4B2pw7qcWbGpb0sAvLdOkvc+QT1UCDbAS4iXGcN99syuTU9mmt4SOSNhd0Net+nT11xXjpPXTUN4cVOLhGvy18weF6ecgqH9FlAH2esc+ipdnz3Lu7DSyNuEdO1WYhcbgisI55xyCpVEOtK34tT/P1SHHMPHFZkyiLMFl0Ql9zRtKqRqAbjlF02B7PmhiVHESx6iGejdRrFVFokj3RHJL3JnMJ2ZVJNLU9tEMfXaQLDzPRwQLaGdS/hRRp36tG/sssPLob6r/d5ZrPjPnbTmwWZaOGKqRTYCs95aC1lx0Zu28Qei4Pm3nzyAFPd7IBbOCC6M9sLNhm5VJ+uxjTqskghmVWeYzn1MOqoEoAGAxw6N9nLMIROMB3WPzrf2jtCVdV8mmHXqpmtQsDQq1MmbQwhi8nayZMMKJcJgC6siCrdaTZD0UrksKSjT4TMD5E67/A04X4WEcj4suhUJEMpVP0BwrJGm1NKVioDXvX2u0QTE74EGp+pFTtA8upbLVUo8TZjNAkiVIWivCRSPi91iDDGJKnPmDgAGZ2QBVHk0kvq3Ioolc15abqyyIb49SaGm0RGijXTSQHhfaPFrD7+fxXZJmC/CEAFZl1yaRlHQexgFZt0GgSQsuqiuOXr7CeS/u6WLAaUTJbEO49Df45zPQkYkl+Ttch43ps0j2oqq+DUshuEFCY+8g63UEAt4ak5Or/RJ1zmjfONElL+KoTbh/b0HfJ516f7ffEoLBhKMrlCpIqG/LgEm2qE3s+fBpLR4yI3gqBtaQU6B+F+Zfsx7LTNDzdnAgWioKHDGJDrGrnSvVcLQHQ74l21anJC9rEzYUb1Tev//lU8wgnbs1IWmv3jK561QSVRuBVd13nsJWuzDqxors2pJyOzJuaofDVCGb7pbMaaYGuyTRRcSn5mdFf/A8S9YXET1zjz5nss8bufNczzrLDvMMYQq773Daf1SWgbF7aTrlmEwrEfIW1qMpRWOFTa5EW9uOhiGUGl0b5qTf/Mr8dUSTLB0hV1/m+sZeCUVY3NvVjmO1Too4aymC8//XBRnwUoyghmXZiBYB+T6j5WzQV/LC2vxL896e/8nPZcE8LjEjFOI0C9nYjsVRCupLLOP2VzapKcJsNFWHd/pxQ/XWrOsAO30i+Bj13o28l1y0/QFyC7dbLjrMPJZr3bJsdsPEDvonQAqWC5h2ZPdxxlGvff1b3fCQsQFB3WWzf9QFHcEXZaDoPL7IJHoFKl3JdHGlVrQZb99izAfWdYq77ucJTjin9uzin8UqVpAFz9fwgSz03PkgROd946FEIy7nXkr9xrN8TNZP7KkJCA3dSNeJ8yd2hsN0SkFe87Z7I+5BNNLemCmACVEGN+rwVYZigguFJJLk2f82kmJB3ZfgJ3KZDb9/gL2yIQoEquMC2KsT4mfjTULf8XLp2jO8F3wb6G3dvZeD2WlbJ7xeXmG5OIqIzItrgdQvwv7+o2TD6D+WE53Bm29ozj1db5QdPJpOYSdDFawBPU4NmqS/Iqj7qqryAs78DfbdbJ9pjOHnsM96EaVg1uLWrDBZFY+SivIwqBo14Og9m1N0KD0+xIOhX61Q2O0VrRF/n8C27nS4YCx7JiDb/Vrcn65+7m2Gn9ASzsHdsbaHo8/mFsqDw6pdbxcEO/fvcV1dW4uts+EMfQTPachy2XTNmTKc0KFoAL5W8BGqVrQ3qTySt+U7a639qI3FbJtAN6kINPa50XBCW0KXNUlagx5Ry/A9Dl1xytJgxQU3egZzpJnnXzrKrRlN30Pjavgj20UluSZurHqbmNiL9yvu0Q6Ljwnv4qrcXCX7mi4vOFfA/QXOVDVQjQnuXxLOthsqvKbaiG2Mz2KK8qLvB1fCJT2Qiik1IgKrt+x/N9j9AdttJFw2HCjdK8J5FC/9dIjFk84RaFRj2LdG9gJ/FWtW2Uopmbv5/MkKS1Q/G3BJngEgDOBXdz5PQw38bZiQMR4zzu8jpoSzmP1oYIrxsoBMwofhXtM5waPNymP7eglTQpacBwntxSul8j0vNlNrBK5NMlMGBBxwaJI0a6O9oOBhAXB+i+Eh3bYp66W27CwOwukpKSRw7VVHS7qjZ+oz8JT2TSBrLc4dZiHE8gpb0TP4ghHvDZFppjc2Rpa7cyNkCfS5l4PNf2EdhpzHQGEsDHX9FibNVTxSQL4xvrJyuw7QK7nV7Htqfo9JDPoB7T+fGzP4uvwBDdNcSCxsrrFruiUp+fItes1LIFlKdyC9muYsiomCWHRdyH8US+Qcp9SW1ithvbpKZuZ7TrArZGUEcb69LA2ahKwurbAlwkmwH2A18CknzmdG8UBUcy0TAk4zINhaoNqMvPM0MINVluOKv0933dy++ic6Rfss0FOdtjuML94jdvOp4bSTyZftUeTERVqH3fLhxR/4Gzr3w0ys7Z0yy+JIK1MK2tjIbqnY4q98uQlPN4WZbsK2UWCOUx02QS9ILR0XADRsahkn83bHugeUDlX5e8aW//yelK6uyZDHXR2cp+BkDeDB+4s654zkm9o5E9/aid3KQU0Z4B4OmJiuAyvB27yvQaR1OuGcbUKB6A1+dM+HrDcLxrkA7FeH5YjAc/Howoyecj6xJXAqVAl9HK7K078qZvLyz0vbhHJIYqxF5pyGdCEjttlUlL9GjLH2G7nOv330hKdqPh7pka75og6S7M/pbkms58UKWoOu2iQqeGBRMZvo6A4v/nB7ydvUBwJAgnnE3pc1laYlXOyAvhf/eTdBMINeR6nCHLgbbgAMsHWcgv9U/GftLJMwK3UOKm1cNpK96/EQXzxNZa4WN5xCGaNtw2K5wh1FWhqONKR8zhzN1cILYhmMm3nVz/vyq2MiCxvPpZvaPIdBG5Aa8vsssEwgjEPAYnQ+8y5qV2/FKAkxl4hyDx3Lcn4kSaioFacV+dnM+tdZOeSn55cKKcOkUEnrKgRGWtBqZgwnCV1/CZWryz4ISuV8AZzsOk1hLmlLc38/QQSy63KtcUnwGWhj3N4B9neAAhSvPOGmLdQF8h9MShGUyEe9ApM0gnk3fbuEO7X1gxbU8ZOrHa+JMXd+df58+QK2XLTdo9oIbltmGB9r8yl4lkAJ1UUm5A36RSu/ajElMTXp/dUbTLQnm7SlduUKhc13w7cHv6RCWJhGsg5BARj6MZZnWd7K+tiR5B76IU0MihyYJH6MCPsfTmDwQx6nlW7P4o+FrcqCF3zY5+egOXIfteWeISbREhqSi2BFMDPMc5wicxkzUbQENgxVM6qhY9rkgDp4iuGEPllGis0mSeUyrmUO0mw7l5aAdABcnuJyU8b6RSOYnM0WAyzIBQcjtdd4fVb38R1bxBDe0Q2yg9IH7MUxmkWiqAr4QYMUIQVey1o8pXBefcdyNkZEzuSPzMea08Rp3IsF+Iw1oqZFQCWJ2TkSyOiRd+klgGD3+34HyPtaiYM3dyX4MRAP4ltSQtTuD4+OoMz1w82lBEjskkdDYEwaw1frqRtOWbwHfS/SgKGUfkRJVpob1+C6ZIvEqdvVi70k8NAK7bFEBrZPMXr49jzuJssGhXG2PA9H+3z+9ogfABu8nxiV+eNer2nuRXRzHlH86fSNjdbp3YD3paYLZqvcjXvNCQfL1UGSpE5tHOCgGLQeitfVop2ACFH5OkLBKCQieqT+PeWIonJ4eLw/g/9pnUKIBrcuJH51JyBAcFvettUS0JlEhMUfZQhUetrBFUY/oyvjubBxVCC47iqx5eY5Ap90HfpyNbIoivtH+Z6JXIWCx6KsGs1LkPeAYa2VwpEjGEUeHMcvJpI1+IU8LTIuiZbUAqe7C3fc9YRAmpLYuFBqBADPEsVP4RsRAIw6VtSMe5oh3YbddWpaHcFEnc0rcOHZoHwIrYWHH+CrqNQxrYmpywYRDypRSZQFn64wKVWd3/M43Up6Ld39xNKYNSMX95H/i1GlfEKBR+M073Md58fhmJ+QPxuL1ruDmt4PTOODaH6xLK0lCvNwhdkd+4gBAJPwdQuqierK5j5QGr+H4BAXP6Wl9GvAefr/ptsZMmjIpBG+blAQEH9VqMBZ2OEbhRjD2cTFWQjjNMIT90FCEerncoBOsv9RmleFtju7bSaG3dkPAFIQ8g1Ssx9AlPufixEaOKQtXJzylUBtamYNNgd6yZmOVKTRJO+3V6LBNZUsWUzxfXJcaISvitT5z4TIzAWl/hoO7MTa5h3fUdmTv5pb1eVAPUpcKj9gyfz8PjsorBKFdh9eWKVVtmQQ6F5ZATP2MCw5tgP0SQ5got0Xv0MCyEkzlLTLb0WWo8noeAkk7uix+tRSFE7re0BP0Y+cpeTRo5T2PVO3+c+RQG+HotnCuc0TiFoUWqgmjhY7W7nh9QkzrSkM/vFSFBy1PNVgk6LuZJ3bkYifKuStp71OvZvbasa5KItQkmrS3a7HWz+CBJ9bg2A6b4Xdo/a2eA/w5dbLUmtCw94zFnnYwPFYXMcFiSlidoReIHwe6f76t3mGm4B/8nn4yQZ7g5z8+WwusF7H2+vVRsgMuSuoDXvJ8jGvNGuqHWE3SvmPd8ZVD1dmcWd5hRQ4PL+kdwG5HK7HKRE05f2JUNoK5mykA1W+OC4ySXpMW/gXURt7c0CtbCIe9L8Ed0u4M9e5ZC4E6QQlGVwbwjkm+8QpgebvICHMmDaqOzn3qX8Hllv/uPQa+p1l4qU02o9MG95+70ZalfRVq7mVPOVJB1hq0vsYP/vJF2dRuq71D46gXiPLAbQBSNz+AjZ7+UN9syGSFtn7EarRnRVRXYbj8BzsGnEI7FkNeuoFXGjEV+LY5oG6A4Yo/qq+ccddhxtIPxDk9K4UK1PGHO5ofLwAa56bKV6XUCx4p8KS5i8kNfGWz2hUU+yNUPQw7EYzc+v7QNiKCc8zslIf1Nf6r/8SpTPt5E/WOEHguRZUBkSngBxihAPRbZD5Xppmomb3Ie35dtldgbb1NMklrGZ+HzyfRpdhJh5ZNuKVl4qtaHqrC2NYUoBcAbt24EuDfL3gu4N/2w7+ovqzfDZj9sz27811fMl+XFVf42lBpTho2h0Q4bOb/YKk0ACk5zDIPADizlELmKigia0bgN4PjwEQ8i0/KV9bSyODVBd2ALW+EaaJ+gCUohBK05wdaJx347IFd4mO38kQ594IeMg3XGAlSsTrkvKf2xCJ1HTs+lppHE6xFjSnd6bV4Yc6yo8rEck5LJ8vk6wfxZb1iIEebctqzhWHl0ECEUk6OvVXyzO/2Xf505JmOyMdm0G1zrhdStKCMoKiNMF8aQRLoASJiZW0Y7MGBz8WoVAFsfx4kXGLEYpJKv5ir4L4gl0lMV4vmE4wOBotcWh+erMs6h2sQ5j+sXXM7I7zyg6enT9Kor8sUpAvHnfSUECg7MApCPz1WJxsUG43Aq96Et6am8B8kBniCrQKSGAPlKkiXNr7yrd2IMO1jjg8Vzjf1aGbtCK8lj4hKFauFOYuOQkxnrFr5MvIkUoJYjKsuswMUXtp/+vBlndCmZ+Y+K75Egd5+3RoTzqBi1DOmkSqULuAKJH1r3+O5Xjj1l59A3Xc5+j0N5sRDjLg2N1uNRDh2njAV4hUwcD16oyoNjAl/eQVVgrbB6H/EYVc8j3MpVH6uYKRUYS9xd6Q/whLyfmpuJosf1at0jG7TPGYdlSqTj4H7pPI4lYkSntqtwktXdO7jPoRoTa7ZOpavlQidtRPnrude1nt6lvn6xypCzyJLvUpZ9t7h3J6sZ2nx9soc3IlYv9LyO7BIB6j/U7UEjLoBag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26913777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ON-TIME PERFORMANCE</a:t>
            </a:r>
            <a:br>
              <a:rPr lang="en-US" dirty="0"/>
            </a:br>
            <a:r>
              <a:rPr lang="en-US" b="0" dirty="0"/>
              <a:t>OTP has remained strong during the transition period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fkTZBRuDSEYURCpRwZNbQ7JguWHBc1bwllMh7TzW6IYDsIybsxMgAZGFxR3HgSNrAEc9LkJdYdKxMTW/nt9Txw0EBGlpKDuw1DDDE4TZM92QydFi+QX44LMoJ+G6w4gASNL8Xni0RYCmNjjBSKNfUVqsL2pgUZX9GXjPgydvbFjdJ2n4fo0ubAd8/UJU07D47MsenECDlsAkNBTVUcxBIFiEFt2dDBEiVS34q2zylucoSL7T2qfaP9JV2Eo+5lpD0mf+v72cCMSjB9AOs6y1N3rGC/TYFLojZtFBGeSl8xmLYTBiBAsNE4aELjNamxJL1LAOuyg8TaC3MjrTSE1rF7sa8II5Uxd4nTLztBbO2SPLgnEDQyqtneprN6iUhymVVIxggQ/DWngsWvLcgYw7GtILERpbFHOFPw0Rxc7AYgj2nokZWxjz9+V9DfnOH0Gk6vplsiJXmRKm50KwngF9gBdHktSafQ8ozOVrAlPg+WoXhJ6C+dP+jOtTQtlQneANJshAFp4/khjFxUDhirnoHu/hM+vu3/rvH/qLgKVEYuftUeUpkJvH1nLJlbth7vY1RZ9GH/pLEduyt+L38oUS4+REu+CxGSspsEmYzZd8xMFDthjqqBdCbNt/VRv7Z4GxH2162GDzc9F5tZ39+hQpNX9lH262dznsL5cBJTFNDphXLBqW9gTXpbmNs025WMcbq2GFPclaHVuhLQ62jRgCPOq0Xio1flyqpaNvpASWEcP0Rq/ujrUNeQDeCIwUQVHJJtDglkrsajPvh39gqVdFWEDZuPOxKFfJAes5v7WKW6Sg/HnKR2xEpsIMsvPh090psMSkzm2inUZvHHivw/ryvYVEN+3CzRn0SfGWYpqV16HV+VCAGpdIExuntJYFS6YYD0qN/bKlwr81kT68S3JRJ8OtLjCftNKfjpUbLwXKoZF2Q0XWVR2Qdn56hifOTw/t+5E9BhisW4prckkFa9iYbnh4tXcZOzpBPsvAXqsZqADpIRFFTMMdpkS4GV0VnJjgKZIliB58qSEWXHP6Tx+tH+kqFjxZRSQ7+BGy2O5Rkg7HW3DPQMhhWV/X03buOKVDjSzZwrqDl0jGD+pDv8fvAFrugwmL/idiXqs9IZ3bwhAhDFmeHzq7fCRNZCvQEF1/XVlTxDNvt7J++y60OdjupnUKa0ZacQ5ztCeh5Jt93b54KqzimngICEEDVEfqDgK96CtgZhlATr5MwfZ8NiG+8vgmI9B+HkVDZVs40Itdc1OxIzk+E4nm+g1wifuTbeu1pBQlWljIvNk9mIWzVYbl3OHoSOy7CiNA1Det+27cERM/D/sPrLOtD+AFVR5ek13RPN+YgIaExfHoXz7Y+Mod417a20RTinKmK+z0GtgBcFMMSl9/zMvBQJ3PHmJafctBdPmP/5nIfu+2GHQFrmA5somhjwU2CXG6lC+ngUKNBDXcFDArdbfYoNvXywbax+0DcjXMy6pndtjYCyFA8d3mj25JA1VipWeC4QciblMOWEk8A/aB7y2jf0Uds/zhEivBfItW79VL1EPvB/Va1bjEedO24KytOOTtjC/javnlh/3xVXM+dmsPmOp22Ymdp/kK4p77c2jSpjJJmYVnUVsfiHk5bgQ6KxvYZpwxSTlEGVQVRhFcMIOIgCe/n4wf2gSTxTrm/pYH1kF2ma4r92dWVHQSQbW9JUm9HXxSaOMb54HsZsGH6BoY/JmQXYUeEFhHDjMMf6WQm2fy9gCeSS/PIEj9CWglrogVnTjbIUZA6qO8H+kYt+1jURqjlh+tbregHa8TJylLEX/K+nyj6Sy0GNVXfRDXqCdQwXZBsM955yh5keS0UDfaYV5MwlK4flZ3iqwAkUM5hAZD1oON3CcuRJfo1tiF+liRGWtuNxf/VfylUjIgs4UbSpSVKFWTbhOOnMofboNKehyL2RlFUWp3IX6CLkYVneY/wWI3hsO/1sEqmBUCfL2XSA4RzamL7Y7RG4mh0IJFC3rPgJ6DxAB8fwpV2OIyx6dFvXtn8Tws7lQMjxVA3lb5ol3ienhs2HPJUy3e3KBbaK4J/8Q3glIzTP8DevzqRcW2OeR1h3n+lI0+xIu5LXKFrg4v8vzPorLlr35gkobhpK/JGMRFmySCebn2vUmLgQBusCnJOW9bXVeAs1h/sw/KwLBwMJ3flWgDXw8rSf/OpxgRzE2gaBHmkkw7GE1vmupFeWE9Vshlq6g0/GH86/tiaoYzC1aCUgOOwIs/lRxBy+mRLmWO6LrtRQlaRi6DoMj5qR1s0WOu/sCXA+IXCP3xQ/stLt4ZbOuLcpPm4mIA05sk44XCg1foweR/D0kvRXKza6IGbrTlNneW2NyhqMN02kZ4XnggOuA4jdbOihqt+XnCAOsFgXtI3K0Wo2eogqzcj4aT8OSRzP2iy0ctHyLhOuxS1/KqwkGwsQozybaLgTYdvtqwm/4l0yqgKnAH7QPY4QCy1SbecHZwFOXOPPRMiJHEkc7iECa+qUIWRqI2qyLu1RHSWa85Vtt95VxT6K9j8d7FCkUP7vSmgWOHcZEWjwGEasI72HrymWcHjJT499fSNPZuRZHWdBDDDc69aCCRfSEd9f8XMS4EfEKzyFQvloy4Tj+UQYI+jvfWn/Xuqw3N5kSxatiXB+DLFoQUQPxEHMTPGwYzpIzPK1gKDzNihjm/N5fPTs4VUN/P8f1zStpoFXrKMgUk0RiW55Vv5DvypFulU1Z8t8pYSWn+yzUZeKyt/M/MeRn6QSTVVuBtVV7o/SNVVZ+U2I9aNtQ2Mgu3JrbpGCi4pYvwc4eww/xF2odqAQCyFSsVPf1ZfQwmdGMfErKJo17GROlrBoAfZ4YaZzbsfE8PsbOx8xGLOzbSH78yMinzcNM30ClPJOEqIy4TjWnPG3G/Scjy7OB7xe9DlbytkioA9wSd7VMOtCyVww4RBEnyxF2uvoEISmytHFt3LKYEo4qWW4ld8kIWjezT1gRwhh1O+g+tFiajRc50y86HlMDSfRyablB1++4EnNmaj4UTBtNS4gYuyrqiXP8i171LOQ6NFoSrQ8ieprkCEWWUHuf5vRKNrnUCp3lgVaZt5NHjIBGttQT4+coPaMXG+5e9N42QsbSbdd9/tdinJzfP49GxvAnNS+CNxb/mHTshDB+CO5StTK751fc8LJL3CC/5GUXurMG3EcXjIRQ5ztCZSYd90blgWVXgz3stvhCIgZkfcu9MyrK/NhEFXwJ1g50NqD09kOGMgmGOe+zbRzssaNCtRFjvv2smbSTbZrrISlvt/qp1A410LJqlHPT/N4prQPU8I8/kuQbxNEzY5XgDNtgBh6amLYXxblWTPvhWNyA93ATj2Rbf9tdEWsbUkAi82C60ci2sK9cGQfUiUZMnW/aaXJEq7Vwjrm07JfOXyJQHwhss5IbKzx8yOOgTLMiot0SfuzrW39o1TfSd9CpS6yJWtRz2TYKlZL3yLTpDfJw6QEzkHMbWjN0Nd17W4q3bon7zJNOfIozpLANU2ji6k8a6Sch2BbfekqnyXlDpKyqCWxJGrsvV7bFh4d/KGHT4uA770DI0DMFUfyMnou/WziDAl0iYkTsCtzZdIY+GCA3tmwOMowcMSBijAYnqjnpia93peSHBU1wj461iUfglIgzvG/E1OdYUzxVQfaysCcYWPxSL7k/Nr910bIoe8Z2MrlzRDwhBdkFWLlSCeiIZ+Q0+eRVEmngiMxP2GlD8RItgDBdiQz/tbu0tib/sqDb3fDMZgdT0p3bPGr6wit9xmVLmJZi/iRVKSOa9i98aTHMYPCso/N3DKnIvrlSXqP9tLl/N5dfEUAAA2XoWeybhQr1AJSRCvbftejhZYWMW/Fo99imBZ5aJCrPgHdnglrpchH+tNpxwEGK4wlUoR+pxowV63lGNqNnTcd/mGWX/MnJJU984CJuIhuuL0y+1uEVEOnebTtOdhk7jQIxyIqyUkH3Opav6TNfjSl8iAA9R1jrdkYiOuXOf9kFPQSlX44g4TK6J1C374OpB71hN5l/5K8IC1JXRRf0o5Kjv/abMbW8hJ9Y+IUYq0EwJ6DiE2pTHc6pYL+1laY37j6XPmsPzDQmpRztkE9IjRFBaTn47SPUUIx9AXHlbbe9AurpMQLAf2cEecUfw5I6uLJaLodM9ycAr4pY873fELEjUhqPU17XAdjU887N2NKlYFoyleV8lUpKobvGi+OzwUcR5cEVQn+OnN+AHDrjHd0WeOMSxkF7HfyZGmfnLa9VuLtOZBQ+pNIg+IS9YJyQUn4DCro2+yp/XVb6dL+qG05J7dxClyGs0yACq+Pzj43X4I3rJGFfKI7EdowVZpEGGkA/FpTPbY8/siKE/7SCHBhJmq+Vzfs8wtQV/HT09T4SuzUFOUBdPLJE0XkTCmYMAr6W5iUVwM77YzM7JruJ8fSlungHcmYYuppVscFheA6wqjKU32TtwIJUG7cYDrvig2IazPldM46iLsBdNS+NPuDfh+7BdF9cqeH6J7g7ts/y0hxtfzvfAqFEhqglPJ0WHeyQtO0sM6WGZb6GXRR5OCi2leLcvI6GNpVjYaS5XMj/fJNqTOEQTbh33xYp9yKulhpYuAFpgZZMxfUwklxDwVkL4jrTvGmEISNPAVUp12pEfqSTY6UUwzFOsniw3ixlMbfWazwR/po8UVogM4nqmKS1CAorBoVY+Y3bQYjKVu2qNVvu2HWSPUlrdiO+OJaDwolLzVzhpHHssnOYFi7XzUtAtenfRpym+E669fwLA3gRdzPeRmXZlY1uM135KZDZzxJ5b1d8m+LcYgOuE7fXD3bynhDmLk/ZUaB3RuccfVyBW98mKe2mxWg93ky5tbhaYp6LXK13ruYj/J7mwegTASy37IjuFUY9LmmzLtxGuyVLkw+ESmeDo1D9dSJuFdc5oCD/f56ZyjUO6sXNuNxeE/Dn+SFEBr3tszHPIvP6C9ecnBFh6I5lipk7iUaQVEAtr5r6/IhpLLQJSBYpflJ4RDbh59uuNF08up2VbIBx34KYq/kSP3fmMbOodCJNCzvjtaMKqiMo+OWu28h0A5s/g/XMkD/QituU2qSKX35A2cxeRsk3BQf/gppE3kZehqLuNi3Qep05wF6oLSbH104uxksn+LBOIc++01Vm5CsaiOBXGCsdT2CzxNuUAvdWospUEW3nCaPuckDWBsSGUNeRysjlrGF/4ryTly3DGU0uqnMe41SulKuNiv7dtwoeW1wwpu9bX0nomnXa4yvrcfGqKypghjxzd1AIneU9Sewed/Hl6+m/VJdJU3Cl6vl9s+zma8JDHmrBOh7RYDgCLf7A/zaPTgiIxwr6wZahr1eYSsdV5/8K3yA4oLb2UkB9K4UtK5n/g5LCqVKK6NNVkhLCPIX3JKX5ri3cy955ZQEPNXDtpGk3+23Vmho80hmrgjov/wxTrz9lizsvXHaDhxCA+4wa3u08WhLItjS1qp4rIwnGULKpK2CwstFPGuoCqepWOgXERZAnCIvgJf3x4WBKIjpSN35FSbDD4CQ5botg6iPC3RyGprgtKTQCRjuFMX/PZ2V+UHMKGRvoRUtxCEZE0llaJjAlbRI6kRYk67Tk2opokEctBH8PoZEkU5JPcT50/G236bA4uikcKs5QGIfKF0ihF9FdfG78fLcJYW2o3F6cXbOz4hMw0QsrNHXkF8l80UPr6U1vNgl1dpOAne7f2gyaRElb83tfzL3DxQ6cX4Fr55/0IIcr7p0i3xprwMT4Re4JNIlj6EmWIb+bPC4ED1MVhEd6eQAKNn/zCXRmL5ji//+7P73LvvUZBOzZiSQCpA1kbT5d29uUNFSYxaCUMFOHzUo49PFhI/dcoeWFgsc2ARiiLyIUd+dV0gyRwlp0qK5rTNRulq7NS2suUtBRryVwiyGEgFfLelOcyXMXRegSVwaOCXMPQejvaONc6J6MtOPyZG1hSiwxJfNL2k1Qg38tDdy/pQSLyxUKC3VnTy3gDZjpYenb8BnuyAxyPWEClMVUwPHkmDEdutVXshNpvlSCwdGULiS2U6+XU0k2/Lw8qM/MKzOYHtzIqChNuIxuaHg1OrEu0doJrQMtuOdjB2hADFZ0BnPW/6bxl/SOh+/J7ylvktecHWVgYWwzVEUH2+vbHEB8pCrhlFP6L+AtkSgPmNMtITbSDRe4H4A27kluENNhazO3yU2pLU+ShRTwe3VY7VP1gw8OXB45LnXK5vkqyvIIrlC47C1ZA+4DzAACvMapMVLcyXJjWTeE8Jq6Ms/7P3Kl+A4VNAz6wmhfq3wPPSP1R4uOv1bCWRJLu08mMrw/BXoYQLUsCJubb2AaVoRT6WgDrJyYq5kJDTzRyScubQDkSmfPmcXBpYdHka0xkVKJilgu2woX1Nx9qGc/T8fMW7DxWGE8OOltNSxfFNv95rYbqAnCNjrfVp4DBncCKLQItTS6F4YYEjfo2v5K3No/7Gta/XjeNRkcF5Jp++rI2FISXXCuwer5ew5a6kTc4OMXSUnMbZ6c8q4twXDWPaZZXUKSgRNBmMs3kVNyijxwM+M8z9ExCM9gbzqGkx5jy61Mb7yDprt5qToPu6wqlN7IvHmHWxJ7O5E8NgGzIfjqWtVCVc45O6f6s1VOtiZQNTCdkskWv9t+JRRg2MB1HNMfl8ERszpGg6moNqP+73+mRW19gHab+EblNyGAP7qksg7swXSXS4NNPVC+j3zRBxUUmI9XjgTOGOwhfKfWe+RwfkBE9Kvx554o9o8kd+nMKE/t9v7zkRxd7zsQ6UH99EVAFhTfCSzn36+bIhym19REU+KCIakqqDidvTaiFZC1WR7M2xFvZ2KR24j2PFlhbYJWsHD2gC3+mQpP5Fnybp2rsVYt0DKyaiT1gK0JlIvsoLMKmD9JmYDGKuF/z7eorOcbGXRYI5ESA3Y+NDw8NvaA2aT/ShGFBFThaR3Vy6bwWEhc6qvmLGPnApjVa1R8Nk46OQ/6V3rTajGxdp7bYvbk0pjyea7V7KgTuf1KneIqoEXQe9atwC5jLH/33LeVNC5WHlnNuPQV8Pn9OA65S9DlK086RFPI/pMCi0+xPE96KPpdl3iSaKRdX8nsaJ2crODHSmGdX0glqnphn2g42vvHkJskch4Aqutlhyvaqz2rJ2KEPqG1BoxudeZPQURW/Y+vA3SKi/R2DGvWavpWS5D3A2UtwUW2zWAn8vMQVAqFuFInqLuhViegujQK++l+lL4Xnc955BSSRClh4L3JchtAYdE9KsrGxyoc6S2zjr5XHJpnzsAiwwyRqmRcglsFtzmH1qw5uPlhLA6UxI0272nWyXWcPVVDo5yRvL13bHwdiD9mwq8uNiBA1fBvRXVgmY3KZsMGGXyzPItjvCNKYhMVmgMTSWIZ2rONJEl3L97lltDSboY7KXWyhRmQIRpUCsgfN3QYZ01zWHPeIPC6LBBOK4o5nJRrxsXK9/cZRN0D20GVGwDzn2D3/JEF73mMthOgXjgjDa9mjF3cZYnBrsv7B2Y4p9APMxO0mpNjvMBeyUQSnAdJGtIXTWtYUfHU7NeJqmVVo8cmG+qBl1K3I8IMIK2m2C1TQSasd2VsVWSM+/JQWuVr1V/hrUXT7lGfx9v3sgTTCwcStq1zk+DJl8ZveC7KR4EUJSRQwodcIRvGJ6P8LiOX5lRhxQYSO3jatmSwAkTapr6qdnZ3ctbzSZ+L+ps1v+PxK2dK0MzB3U1kzQBcwMCvC0eAsk1L3b7wZJJX7zmHPlTFwJ885hZRRz4SVUUBZx9R3MofTPuwsvnAvopg7YhgLnOqrvANSaPOqw7jZfjHzANGE9l+mM248KlRKLWvBue40tUhWo+1p1VvS+Ch9nq0f8AaXQCBuzyTG4jWsiA3MSFeHIn07H9b/HdXgyDOX1Lmr5IPt9izgz1RUgE09oKsTMBc7HdMAUQY2qGvqzCP3hptM6xspn2VtXlBHUMeS1YyuaSzYV3R0Eg2GxTjNx/4JoZmHPWgmTT1BHBQnGxVCVxgLulnE2PP/abxhs3WTQL4I8Uw3pwsej5AqB2C1LpbI1s6sryGGu5Tz8AIxe1mqrBjZ8x/67ItI19YyvQqA5Stb4uDjexW/MxNKw/URoH/ttWawMWPN/cpSJfUVk3iiv+TjevotFPmfyb+l7NMMkFRlkG0n6FHyHW/VClVn3btwN8EuN6Vg5u04F8gJGZArlOzhm0UtJChGFGYPobmucEImBryWvkC3a+zpgosrsXzOI4oAJ1zLOyKYGGSVK0F7iBhOHT12dDXNXAAtkIEPmdFf2PSYqFUboT+MUsswAphXA5r8vWxrNmNOWHhhAE6MLl9gRqWgmHggJwPp4+3mfEWFVF14i/QuDlA7PO+q6+Zffab+wEDzdsCHCz+sD2EDPCfCrOFury52P/ZO58dXbsteTc4eD2aWXiVMYjNamPMczMxtJ6s0ZpZwttuj0WeikNpEUUQQq51LshYF0Z4bH8xcNZ6/CXIu53/jXsTw+dHzmv/ReyWSwAlKTz6MkbEjy4hA+lUMVrdbhPnlXgx0pz82ygwWDLz8OKyNTBODv4l+uLcMrXGl6o9ZzqUGkELte+CR0bspsrjXHH2isQQK7Yj9xWOSZx/xBJy32uDcF0VN20DUMl1b5y5AkjR408xZaJUjcLP6i70TAiCVIPF81dSH/fIotNE8pHpR1dwDgE3bynOpK/z+BrmFnW2rpa/xQLh50ifEcIUPX5HOWTyg+NiKhHDibyN/qmlFlrsSvhPB50Q/IgF259IpNIlrY6o6dnE1/RJvT0rjVbFgYHofK/W3oSe4w23FwYeEn46KePtTPZr0F1wFJ0TXLeQFfXtORrEY/T8ld/kf8vvpcYgFO/FkcAvWIZeUMo6jJJHfF/EYosQxMZMTcNXf4PR/+T3WeYiMFydpKGkh4/V5FO1NEMX35Fmrqfxtqt4VW8Nz7yigFvWskkxgVgcmE+4CKVT6brIxdBXt+vo3RGyKtczuoGgJhXJHhONbIAK0t6RjJtG4rEMf+zTQeuSWW5Eb4sXfBDD8ikRUQDXZM5kgHfS/FKw60K2c+1MtMaKPpw2gnz/Zl2/Jupt+XMH+SeCTf6p9rjeOJicWqakFOJuqongikqhXBxdjpp/Uwv+wYBK7moK1HWg/OdHb9+pygHJxXYGHQccR1tWFIzj1mhtxhFA/k0TaWHzO0urV1BVW+Q9Tkp2F+h1CXcs0EOICKbxJcLrPphoqMkZ6MVEHXJ8HLSb8PP5mhbi+8KFUVbJ7Xw4Uq2vpNbUdNGjR1nkXgn78OelftH3iOA1qT/whtE51gE9CH6qlSytAG0/S2RruBQe9nOx+srUyWTOifSZdHRby4esHU8WNAYh5np1thX3jod6tbtQp1uEJC/bBlJwjWS0BcKTXYtFHp++C21iuPeHlBaynjagDJFXcdJ6n58HdUWLZB89RHO7FsY+IBStyRIY0WAhxONxCFB32GkHdFvSQtgXF/0vTC1ITUILYQtuJ8tQW+glbemwRloWOlpakJ8CHOrCf8sTXSrKCZ1pHikiAyd0EkZor6FoTIDiFxDd9R3XWwZcdYezXr8cKgNG0EVLYOgGrwSWZEdOOD1+E27n6WhqoNgoYX9mccyG4HAEXdCIN0/K3ctiYh9uON7stglTVaYIxvwOQvUva9pugBjXhcKHsMNkhfBAyo/MT0/zWtZuKZZJKf47Iy3WXBpGsoaRqvbgnetgHEghPNDOEkCG6pm/+NjLuDgU+AFjTAJ0vOD3IGznxTjmhw2Se+srxoRsm6Wt6nvLAkfHJoLCNmavj1a5195tFUAL0QcEiOkL0ACGgRI9wbovc1jF8pB3LRWT2GfaxHsXdYJdneHN7MB0T0CTN4RPXu+l/MSkCmzsBD1BqPqOsCMGZG6adxn0MJ1HgpLlTZByA6EVyN2uzhZk2zHPan/a3nQ2f3311Y3Kgaarhgvei0BDuPq5V3nUbvkcQngwr+2UcWfdrlrb/h0xM3+BglLAjNTqHPib7U5FOR2qihNiNl0Zn6I5JyJXwPeNNJ2U8xxBp+oGcZd5sCw8trqR6Alwb7aWRPn0yqTC0jUMBj152Wmfm+htpuQWMIlCs2G6n11ByzcviymZCiU+T2efWlPFGLH09vl2j2cNp8TReHaNyrPvdiXK1PaFh6GocCCaBVlY8RNeuXFvTqtA17rQz/SDkDdt5XBWJZ8VyaWn7QGg4+qo7zg/hno717iAp0UHnv1yOv6KJNCG5JzFgXbfiNnVaLtofQtFSKwGU12B/eJVcBv9DFviQ5G/oRtj0bfk6Y8GEMuWUm5ogzCJHcjpynaJpbzqXR0ZEcwqml2xFloDgTyiqFVPLM+hLlC12X6NhgCTRKvVU0MEl4rcEQqyGmPxTm9WiSCNNBNZnFHRwXqUibSMSuQZ/4BqlwOcpRXk6NqT4azNom0t7LcS2EXEGnswduhsb2n7n5Vd8D7y5agESghAISqHxkKyLedHT84S8Z5BnhEbRsE3jrGcO9Y+m5Ff3EQOMrudogOWZR9itRvUVfy5Lu9eI9MVmLpsKFP44FpMlzJMIZhTHy9XZiNnl7bCuFyOZ7oDhBMWWMS6HpbaR88NVsjpHEslBnj1Imt4fMoTG5HtAHI5XfdXxvS97eE3xWhRsW06UdPIsG8HDrnOf7S1bKDXHTf67e91LMi04X13ykPHFjeRQJSee0/g8B9WaWQgsMdpyHMSFPo3BN5Xe8v2JAjql7ZZ74KwJdianxhNrkTWj9/8NIGtVL6EQp9He+byiA+R5tygf/5aq1YQasTP264PZpnSsNsOlUdiGdWUXjy65LYFLlerPa2vBL4ZBuuJt23/Bwagxw7bAC1Jfn9aLmUZY1LrxDHhA7Pp7RFW8huo69+eZvuWItO4I/l7V8vPlPZAtTI7vkdSBlk970OGg09MwdKpFzLXQriM1SSL0fOO8ANIkbCJXaCDPP2bDqz/M9iYhQdXQITPFyrAqx/21/K+90le6Usl5ZWiLHDlcGcSSpym2n6nJTh8uJaQHCTu7gXS11+0iYSSW5jhxysQ+xPWAPkmddXW8w3ngJrFTdwBW5AKVEny0kjtxFaTE9etH/4urK2+VOH3DvBnaukacVGmxTEo/K+bbt8BWT+/briD9hxBk3hKobGfaXmXQIASWzSiTdgOUpBYX14yPCQC28qeM82kkheGxTr6JiQxraKf350BmvlBdroSnoZ5byEplPz6cJ7EZ1MRXVPkVxxhItsU19qQu8v53dp2KDf2slUwTGy1LQj512740CPpjb3VQgoHUSAbnes0+uJzjQ/Xd4GCGMgP40eVqN+fCdg8P7y0ixstm7HT1FR89rJQH3m9WBEsd2+Y64hgtRBtcrN4892hkGqIz/lJJcxxx2RBVZFDz+hmnS6q9WcPI8Ch/XLe0jpcYzK5I05hgAAYkkrCjAQDgNVpKmRZ4/08UVUYdDftrYImuvqJC2KpD+8mtoul5KONKIuPjrY3LiwzK3eheQZmvhZD6K3pzNaBtaiKwE8hULoBV+WrThYd4ZiezjKItPk1oYhqEyz5eQrDAT2xoYNjIN7J6qiibN82mArzJo8AgrGJPJUsAf0X9lnaLo3w+NW758ldRJu2Lh/8aHE1V9jr/EfJ9TWTmRdohraLkk/zUxT6az9sbKiWJDxEROuQkoJJzqB1SReWnQcH06cI+RFwtIf5nMgFwLnjRNFeTTElwiilPoooZHylwlQNO4zmUh3qEa+Qkd1rJ5NcAYfiY9tAYu3Z1OJuyjuENDfCEg67Cvby039iLSXYBjH73gDUH+JzPWTD28F+XpDvA1tCm5iJ6SSrUmEsxN6/K9ZnWaX8eoB/+sZoScBwpYk/RBWFnk7Q0Pait8RrL5124jQoMhq2QWksAXi/9AQ26yxmiXLyycdntxLF9VXMlPznvjDD5V5hVH2vwDeHCBVYbpxlAbNTXB4w6ns9UL/SZu27R3Cl0Z/XUDy9s2ygAfIp+Pgdmt5+QH4Vx2m9lrwuRBTbsYq58UZVVTVQo73NCrhTfl2Trsu+lgssvB0M44twL35Bh6YSct+tVbAew+JoLkfVKp6Pha8FzPF/wMJAqUQ4kP4x18XwhBkXCLmiRlsLPxhJB8UJ88/G/wm870qXmXt94gJ3jjL13YFfG7d+g2KSmfMKKNxKcREQ4Sl3XvD5Yu8u3kQ+GjT1QfbyFNAEIfzJtzxSdRW7AncACowt08ashhgissMpl0eJYWaH6pAPr3kBqFmQIUC0LYepmJzb9T9WikAudnKUOoIMFMcMyT8CoR1lJpbO/IVReZg0yUPS/YYhENY8wtkxcISVz9hJfBmR+LCuz8zHyUuR5iDKs6Xf8JGJTeOpOPlIhbZDRJMe1cx9PUpwqOuK35cBR+moHtAkalTqQFwrDQe/oKFyM1rmHUwK8/k8BmtgQDK4PsUcV32LMyiUfXgH+lNcF5hRGW7S9JPSC+FjnwrwNq/rx1eve1KdxvdAoeyXvqcn0FC7T/IPKnFNOqpe6fxyahhmvIZwNRvxsrbRUr8+ZtChYOZ19WaMFhnhZZaSfz+fUl1uKdGT00KI9CG51wZ7iJ70l7yL0zZL9jl+RYouYrOue9YvMvKfSEtT4onySg7QP4zfJuJHNhzYFQQtPMEeeZRFubISPuDmn6MS/rdSFCViUlaBM6+BZ16xXNFChzngin2e5BWsTo6iVBW6Ov6IyTpBx52lwoqFwg8e+LtyZIh7U4NC1m/21LmsAGgMe+WwQZXLSwnXtabq4qJ7eKcnNJo0zcMW6rIRy68PYchZ/tqknACufc86FpFz/jO1IdIaDo/Q2HP/kEz3ioom0aOndG6/f1E79shQu5fEWxF/oIO8WlDdgYTOOxc4JayboixyKesqtfHtYjJM2oBYdm0OlV7Tp4FhgTuWxqoFUaq4pnifB68UTpQ9WlzUlfLYI9ZBeYcs37eXZmN6NtPo8dX4YZr6KDuc3QCCB3FMjcwHfWliMTjnrdEsng51Is8oIjAuF7ABXL3+psL75KFfYDzozH6e8sAjsSNTiXPKtEh2BuB5Gi7dpfCb6DUFJfy9Now1CD/TCu2jquANaDBhVGkZZUWCMUPS6sb9wmfKlOYr47ue8B08QF9m0lHOT8BXCaIKNOC+58Yyoylzpkw84YiaAcz+xFxNE0MHF8XE6jNkBfB1NtwrLA/KR1AB85rR5TVuGydJh0OCbWv2mDMD2SnY5Ne66Beg5yHgXm9rd6+xYC+7F5PeM2SkrcYIm4BURkcfKjOrSfH+GTs0kzzbsjC7HdzvKu+DpQ7opwzRNTi0AKCUG75dBTlEpktwIO5Ow2ZEPrzEBZUwlzG5bg1SJOWG4gtl3L0/azssYp536ZwwWN7U/FcAp6UpLC2MbRpLm/moyHGKfgtyZ8/zXIP93wrQvHB2ni1j3RH9oz3QiKc/BcvSXRe3RydkNOkqO+rA2loy0cSPe6UfhA5Tc+ECQB5lU8KJVT3HKvDUizIuMdTj4gjxSucJfslAfSwaFWrajNVCUdF+CN5RRE7jXFN6LKV1aSWM+N6cn526I2rVsZO20KJWcfE/0vRusaf7L42lPpwSYXQPeua9gimg33m4hCpdsSFWF6Oao2H0QcnjkPeQnb5fjK0sSqrpTVLXGy6WHxLGlTgsVrEwdkp3x9YSl29j468mOeh54Az4ewpu3YL4Ak1X2GDTLJgD2WQQOI3uLKFYJIFMxDrfVlksuotApnzATFCNhvogg7kShn4pU6GO4DSl+0CZLDNEt/40b8dTnSOfHExXE2H8wIAgAf4ySko6bhQgI6aj5JdTQwsPVA8ziDcTgCB+YlIxqK2hPfydpwzckmOX045jib7U++bZk4/qR6FBTc1c8Uw8Y2i/krhl4XwvfhL1RbEPgx5v+iUQb0pQKb9feeThJu08BwcsSjTbqR//X1k6LHlEmvzvi3XS0REEnkTiV0WLQy5YENOPNLVxtjaj/JGfvQZmkp71NaSRuMiUBk8hb/M7H8O2cuAPT6fOE3js8Br6A5oe5Br7lT2XMJLUClgbGWfNTSj3JjB2TvdH9EnZM8tzRyAzpDEgMMNxynAUAIB+nEmgX0pqKVHH3Jdqc3fvVq+bvQRFeePbgxzcABjuiAO/ZswMqFGmZF5WrnMMsOiH0U2Ei6KWasMo53iFRbrBdsN3RQjZddyrEudWEHrhwe8ZHbD/egDiEl/8ns2UPDDGeFjIummcqJAMah3XOL1XTQJ/dUfSq/OdfJhuTQpOaq7kNGOGrmKXDcRWOAtdi9ZWuRuS8bdPjfyYXgPAeO6v6Ph38eTgWk04SmGk9J/QKRt8AFStUebLoBupb35BiBpHuk2bKhxlKFI0joOZjVsD5EshPzrT5nCOi8+UydJ0Cv3A7Iiok8a6JKqKW6dAVyn+ZwgKrkhJZDHyLqG1THCQknuv6Gj2KnQAPF98yYxiUYM5QN/MEYIHDZAywLenBFbgf7rm+uIKV4DC/DS9Lr1fuEhBq3kh7GQVNh4DDKTs7xxBwLECQlmB2oBzaFitdj0LnH8vLT3Sb8kGD2CicTyuaz+GAmOQciUeU9o67/yz3xq7/5xGCDl83j4WCJFdjcNILEvRNoaIj2r5Rz1ItmYGdhaxdidSt2AupC9RsHZmkd34NtWmxa5YWEn1xXWDoQAyr9Rgg+dOuexqlYDA0wHKYm79PGmmsVithz+Us5vi64dx9xHb9qdyCroEBpj6Mu+jR/ZDpekLP+tnb4ygFw7Zk96d8yhUnu8XoJBmVabB8waKi9hQUS6wXrdQw4uoPCUnlAFTcs4mipLHj6PMfwVDHmERdbIfSHhxhNhApiCVzDhjuh4qGoOXROAy7frkMH/589POznZ8vfp/N0W+4AMrzXtTvMuztfRDNc7uyGXedIpmlpFsXM2KDGXaRELsSDqV3VrO2ZBgmL2yexET1AcAIM2wU6kcudLlgnGD7G9LtXQg2l8W/ptd5zVqNZ+33l5Gpr5VyqII3LoRaF0pvk1CTzcVqKAAo/fdunBZLg8n2ZnAEr1Volt60UtK3Rx0r0tTPs6mK0jjUpyuCnA3wP0sMv2yNhK8w8PcQ9Thdj67N6eiuqcMe672iXSTEMkQ/tSobR0Mru4jCiZkJyuEnW9jt5ETIrafklqz0hkCuNDEayO/DO04vM5+qUy2ivwhKarGBqCmYm/2619prg9lre6LPPB1W1FhpPJVazQL0PmL8MTgaQVNBZA907JiN3oEXw9zvDApVNaS5ues9IqWKX4FLj2On93s8yWvoQqSXtNbt5tYHsHnpSFJeRc5c/hQZpw2LGqsa13rNG+c3V7a6dhUSXIEUfMrGZZp0tGZWtow2/V8y3XLjrheyZ8vOqF/9CYFXfCFqdKwa6+CGtgvVwKI9VcggItM9M2EoNlohH2OaAzJo2/7STwvCv9m8As2p5NqP1tDORwNG7S/2JHLEbsB38ZB9wbXa8xcs8GS5ZocXZmqxg/KxBMqBmZ7IEBAVybCn78/quuRNnObNeIrEPA2z1nCHgpy1yRb8i2mh52AIkbrWwxworNCHdsS5glMvwvGnWcURd1ZCDWfxeaz7tr9n85SclvhJZpS5rIDvkyKdM0Xjlj3nOrnTAXLOI4meMP6oyGAhP0oTvFnTKARA4f12K0RC6X2ZAEN+ztsRui9t3jlxtQ2BXBT1C/G40avLoMoxAKfxp/16r7eguoxKfq3NN/YJMyIuzP42teYHfCt3/j124Z07tebjta7AyhFjvhdux0LTPuL8Me/9+TqwEIeZz03fXuVFATo0pE+bUs3izjL+do7KO+Guk0Sa1Lz0+W1mfO0LZpMsLi8OcWyQ0+9sAfikWeB2N1SK9jeTm7S/RMdBsWXd6Y/msfs7tRU+HxL6nzfhZZ14AFC1gpuZ5Fzsd9ye0GG+a/rPVzvZG8qRGvtKasQd/uWNH733qcbGs+fj1OjWpoj9uPXXZePXVR+/JQdIhExRSr4PESmOTIsq9k74EvGhqfZxpRJvJwomCD63LOo3QadfAqd2LC5bXCIgY4GxnRn2VFmejQGTgqoZqB/AzlpP5MqoJzUgfugsQJBGZpgTgfNXmJAAuMEomB+ZcxCRh9XfWYadYJzPOqrIgPiEcAcFubjdWKvuc0VlvMOm64cwuDa+yq0H14Cb5CIaCNE9uQzUwj+IiU2ZoZiiOnn94wf0nvhLP/XNyNTQTcemasez//br05habB7IcrxVUNLpzVRnZKTQWPwdG5Z9pfTk8YDpdI475DZ0PquRKtk0OYIHVxPBOUrEImWY6X293Xmcx2J1FcVR/Zoyz65yA7MX32+k2l0WGcMeP4FMTr7g75ZZve4jkqTn++TrFhrkbyvIaTU/hqUID7shvaBW8SzOEft4o6WJf6vASDlFvttvpcJAA4HWnBCXGuAMweP64mr67BcZ9tIxZOn4RKdsnoY3nzFGReEXbaL8tbLg5m8Z+p1Y9pwaPODYtjZGEF6tcrfQhVCbxMy1V0fCV1H0TSyJiyciXpO7AG9VlTvBPPhI7DQUNhz4C9pwoHsDzVijv6tL900yebaEsf5UWwG5X76vkZIFuxUiWRzzg4lRRikpAoznKQusEMdN4YWkcqguF3vAiQT8Y/7sN5ThNo09Qy+UOtn/Aibfmf8iVSMJfKk8n73Go3AU04EurXvrKnRHpVNH+VwThzkTxU/2NlyOoGB6kC6/PAqyRVZ84um2PzpM7xeMgPJRpsMOAYE2Xg7WtWEBv9DEggqTcLL3FSjgSeB1w1WxZdDHGf/RXF2U3aAlaqkjECXu0BgE8QJk95Pu5JsH3iFHyWU+rus6lKvqTB3Jiidg6pqYufOvokfAZENtPcNHf5dhuEzdpFKndC/jZRa9H5p7s8G9HCGN2Dpxda95He0/No1KKH7fNwQ+Sj+SZAvE/mQve4PL1HeIV5mARtgji0sch9/GgGzEN31WS9iAGBuQ21gKz9MVtkWaOPsPPQx/oPEHvcvhePQdsKuY/wMwBBS3UJ6Lle5sTNhcdNITWDO2pQPKqs+kIpevfHPDxq6OO2WQ4cZYZMep7ltFpWAPWhaCLDjT8ofm75B9Zt1KMwHyzjVlfzg6vfz9vsNr4IUL0ScjLsimywtb4HfV2A5T5r4oF8QdUPMoeWYvEXXM94a5JPFIg+5EgRwwYwK/x0YCahV1d9c/bFpZftGpBO1HTRIVoFfQ6N7midXm1BpiTX6TUykjcnEZzsmTM5LSPEL5DKW5X88YCW3XrrPsVnRd6g9Gtx2fDqnIBGCBFoZEeJkvL6fwqjhyUJ8jU2xNKAO3FDJAwspc6Pt+7bKZe9YQOpoaBo9Js62MhLjxBSw01o2GGdg4JqxHUc0ALFIKzfwFhcc60IavqSsvndxrsDc6IHRJdTaJ/51UGDMJpiiQ3/N6FwkGfhM2McrBlNhWI5jopEiNCxVD59ThmKA88mukvsUbe5N6FKmr5jAcEXAmZ6QnN6axZpwXbXPu8CqcHlgXeq2c+ggkg4sdmlWcal+2GEv54qtCUtXmDp9cQG9yaGFQZ6KGPO7oxA7iXsk6agBY9pQY6/FKgiN+iAC7WXYFUASDGZEi/2KvYxmssPWWiFtoIHjLZGf0J6ubA9xN6OqkdnKwJMajNcJTt1UcptiAqo/lA4DuQ0kzWpWLQQzUmvmbkKOfglxtJN2sczLOJQQr0TDCuX7yp/Y9GO73svD4e70G6HUKou53ycPgHyTyORwjSh+t4Oue2bW3zfJMrXGtllHZ61IJK1z2QRiesI/IC73sSJDQkIuw9nDENbJS/jaK1kWFUijS9n/dJB0LdSwc9t8GVgBmahw4y8Xpyc8W7JHrzo39/kiwF3oKjq332jIYROglL26iViAR0MTPIvcUsfPoZWAR5LLOSmexIoFH4KZGQ8QkeRKeE1egZC9UT2I612sYtucHjD2KPL0jQlmQr04VatXmW/lPdKeSm/yDD+44UkA+lrCharrr0e6mfWWomfDl7OtNoX/Wjq2WaW30cQZkQF81KzSnkNbqciZVmU0hdiOLUehvl16wbPJVWB3gbgR5lRWnrC8IaVKslGB4Mp0xJ2qDc4kxZStKF0lpjXYFBD6xp69H04jMPlX+YIjTtM4sPJi7slMcrQXo2pnRO3vSzs02DeRinGmzHkg2l8iF1Rqn+mxfvtBVyZCeZv08FIrD6BQveOaSGhuThx+scbFOJo+WJ4RSZWFh/HC6fTDY34sykapWVJvxFLguhxUx+4cKrwGli8p1BrxhbH9zQc3mrTkgB9elC+mLHRv3v6/1XVt7iqnMtP2VyrwdjuG7t98+d1EXHVp++HbeYUtsjRdtdDdjLwEx8UtLe+V5MNC8oFRF2miQG+nxsW677xSLDLhoGie5bP0qXjjeIOHBrQpkwEqKwtAY3HnFpPokIX9SfIzDzklFGjm52jQkeSJx6QuhisYRDsyo4qTvCzTu+uxo2buHcqbrk+xyxh2KuuGCiTuOTty7s3VVwfXRT/8UdjVDJ60Ks7QGfGhOyBKnpIGIe+5zQ7zT+xOzGuel0ILpahpwT2u0rClrnrvLVaDpCurzWyngky8dGKPZOnDuSlKzEpdJyHSjSlq0u8UKBDnyeQWvgQF0IIxMln0WOlsr1K5NzwWYx0mFmm2s4OIeSf/zf0BjyT7rR3TR1Y3YQKX49yqmsg5FAPbjT47AqkQPamq9oBWLuvBHB9WMxb6dW9BMzfn58TC3PlpPrpOS2fWMu2FipRBs2pA7mcBfWwLExo3mAJ5HoPF+zDpmUZSktxd2xnR64ax/3jy/drCyFX/wVElB2SyKWuLrfJtHA3pIpl7KYj/6Wd9N553Mxsrid9C7106R7xD4Yz7FJ6Z/QLgLTx6DRAyRdtPOOp0BhXBYtIK2XeVBSe8Dl+8l3utGf7OcVqPn2q5SiuBUZ+esLbJpHfnjdqD/f8EUJls/SMviR/p2x+Bg0fTdbwsNmNbxPob9a8WRgeoM6gBCdFo+1oT1vrqirFYDjQLodRoZqVHyXuRb8R2vlg174Ynw/mwA35aRvUZLdp/bhnoS2iICNGUz+XIBvHbANvwk6NjnCMaaL34/B+9hRx8MBPQclPfCqRyNyYynVsa7VZqj5rxep6a1eGEnzaWQ8zaim2E4Vbhn3xhTQcbk2FbV2ILgnVB0MF1RKOf1Az7fn3jWEe1KVxhgTAymMy7U42pw8o6wFas2zaBIvaDEnQoGSXkacUQpBMrJUzvhUGhvP/iP8DFH/gZUhaHlmUx6AkjvCWJhgb/1Sanw3EbJtJtfxjgL+NHoCNzcyvBvYjrZFZe4BohycjirADFM2Ozqu3sf1jSNS+A8940+nOam5iPuEb0rLwwD0YVR/ehI7nf6s+2I6WJN6dIHS/vUOswzb7l74oiHomB8DqenUvlXXpkiTMz+2OCbCrQgJ83tdyy//tPXg4j+tYyTZSR0EP5vjX7freuh4vCGAG9MlfCJPHDQJg4Rn2R8H1PWO5z6mP+HxIKMwOdRwcpr4FDadYiLynXmM028oi1FF+L7hXIbe0znoeApXPmcjOfff8kLqrD/F3f1JBDaTNUvL/+nPm3WYPFPuGhfC94rrKcbjIuStXNpkJoRQpvju6AYloEWUfF8avQ221Ej89Ih6+zev+1xRqo595npn5FiZ6vLoDWLSEj9QCHpn7sm/MrtpuYOzSXEq+OjOOGLwhpOEFTkaeQy3v4NkEO8c3NsN88JG4SXHW9+iiKEQ5AhS7TcRiX7JChHjy8qnQs9sYpIBSXiLV0OZeZzy56PTg+RTTXjr5rwd7VLiETn6MUuPDQpdKb0/RzZhXqOp5NQST+slt4pBre/eYSIHABxrlKLDeQ4/W+tUAUkGt/Am4RmqzrexOTpJ9EtL+6kGOLBoz7oW9tvd/BbCvKcAjD96laTlODpIfBVy8qCSp9fj2Iaf2q8mA00rbz0ewB6x2w2d9ZF/6rLXGgYMlsEvVH035Y68KnbcWDh0ISVo3RmAL6IgAPYORFKxlOPKlTCXaTxJPy0vqV1XdxVo04qyxNAtFDb7fhLjaVL9+DTgdldKwHou5xFMOiZo377rAphiotci2fN5IxpRtbOFyxTmXoLgXWosvCOxXkqm//cBaemPspI4ZR1WUIiQA3VbeffXeZoFfh84plimcrZyfM9GFiuGn48kVaFj4MzAiiNuy4F6uJcxvbou53MuhOX0F3rduvsipRkixS5rTO+TIjw/BfaGG8tE8wU6LzDXwGqVo07NfcD7qOYGGF0TTIJFasN4/nmir5+7QAYUBXX5OUZ6pWdVBPJ2kJf1MhLg8R75RsFcv50h2sHCJc5dfSQFFC1rhvtSaqezw/RIg7OJa2A+06LDCdfodjRKX7/THDOJiicUBPdHI07LNyC9zvtajdgeeCyhkauPL/UBA/RqBouVhWLWuWohS6Yc6VBJ0oPVGxmTU3IHGLA3FlBuHIhExmPTt/FaMUD1nSIcu9CzGBdeLpC/JTY16a/sR+9UGT3w87htslrOz3lmydUdSIP+NfzSNv5DrS6Kf+4Tu/+YhoTwDePp9cZHgmh59VUmWAtqWSe01xdEyEs9K8jIOC7UNrIP+U06EZH0aUUObciJsyxxg8TUXQqw1uwr1G/xq8xnvJ/3JiXbTjNjdRlnWcrsoAqV7TEfBp0r2GgycpT5OaSH+mdvfNbc8becK34KPG0uSHQ8EaEKGyCucAXESdZ6cMKOoes9CMURJgmR0zkfNvyVlGugmSTKAX0cemradIbysVz7myLGpKrfcGMWVMjfKTC/C5SeAROYUrt94Tnj9+ey4azw1/inzaxkOYp10Q99Pyszfnj9CwRdKy3x5j+iHI6JhxsOORnDK8YTck20DF65cKx4ZDUGkkXtRJBp/rfPS12bQXGjA6rrnN/pxz8vjWMjO2z+5mY/+ge+RS0L0ULVhWK8F78XlvJpkj37n/VaRTydcR+aab73qdXzIzqfi/9EUc67VWxOFHFrt9uOfTgFWGcXzdi3nEUV3os+n+k86ebAqctfvk+IbD2PvyMuKhhGUOHCLoktkLZpuzOiVvUlMoS0n2tJ/Y7KuE+VAstnbdIvMiOYM+EuY7znA4sx4lXFhDsGl+WsUYhk9NDJcFDOXC+U+VsfvXiInzYyhcCM2hWXa8nI+NXHPGg+zoo5u7Wetg6S9RWCDIzftwamddzDLQGdv2FDAwZG2frHbPhiGvo91M5FT6TWTkJBr/IzB/7bItDm6IRm5GxKR30UlWkduuIt41iu0WRS5XZ09lvOHf6kk+npYq5Gxf1UyTmnDFlge1QW0P2J7bG4a3mCcZuLVdhuvqS7S5FrGRP4XKnwqbgH5uCXECVrn4TFcuEi2k1Csv44UcMISbZ9AHLM3ivbRoT8+K6x3WzOr7KCKQ5w2YAiquFAb+kc0CT/np9VkGaNCmDCgb4rs8Dl7NtIOXKYkLTP6B0olAGv5nnc1kdqtIgJqU2V+9J8qgzr+SIyYPz+uoYSogenSq5NpLvVfjqTO1J3w6IcyB95ErRjpO0UDujrh83lQ6YXqebqwGgQ1snHiioFp0gipb7oSSEgV14U4PYi04V6sINJ4ir4xGm6dSO8TBazTtfrv9ZPKhq2X9sXTDV7qlvArbR6VnPwNOV9xRZttmrpah/wRNOle2SjGrBN63n9kGsaD7sEMM5CVrkMq0oylOUKqIxvRezwgI92e3kaJz/aTftlIdL8oYXjySyM8M1Eq69o9uRvnzcDFkangcEoSPTAlf0QSAE/ts5AMAABoux7iav0pRGe9aPMFyu8u2s2IY5CnbETb+oYLrMSs2Pi0BE8+J8/bsoy92ZsghwC9kRR2QAW2MS/Fs5+EgBs27dRVbsDIFVv6palTLGyarxhyQMISt6h+TKU2rSflS6+P1ENQrQf7FLQ2g6AC3PoBE1jOcMZWnsIERFN7JeJd+/3tGDJSoeO1IOZ7S4R4j6ykXyKbzc4EWmtMI1HMJQxt6hXLSGoTUxBitmzl9Vytm9zmn55jBBWiph7LIRuSvHUvrgj/IQ6vx66M0R7Cjbw8orNDtR7V3R1sxIG+DZK4c5ehGYE+9bJSAlvOqkabLSXf5PZQssAyfJbYliv2r+V1yqXaQ6U4zuFKalvSEjbUFwyap9pklqhD6t2PN0f/486B+hLr4ytRmBS07z6A0YT3zREPctMF2R7E50sF4mPAVOc6YexX1SsJ3UVwPok21TzuVOvNkgHhTWa+/jsijdeWkiOzur7gYp/kCyt52PH7UqfotBx2gRJjvq/lDgSS6cG8GFFBPGnw09yXbxchZ74GJUJl8GKc7ZOmiBj5A4CPN7UydZ0z7H5ON2+8dPCof1yo/Ea/DYDt9k5KiN1FlgyEwun0/3SyuIai9Xw85BaFc1xnDpA574rKZsnz4SEM+sFDgFHorrCRGKlnKCPksQYzuEoms7/VLfWNK6sf8Cxu9hJM8HPAb6EJCTC13UpCbYIe9htQ9WCoDfZnZ4zXcj+UbhgUfjk51LS2tcnj7CuHq3WQ2xRdQ+Z3SjMGr4L6wKpt8j2Do+6Fks+sqqPwYHSF4EegRnFXXhLg/bDrZR3uhXD1MOgAwVb3VozwtcLae5S8Cr6Dvn3lpAjHfPzMo4MMmkwZfco4fONjPmUOXE5zBJLeUKkGisW5bQs16osU9nNTOZKjAZLE7cteejaDjMB6RDkpzLyEIR3sfFGcabrIAqa4PSJNxsaYCbQF9ojpr7wGcagjrAfbUHu92wEVzELzaclyd+Jvljf5f1VTPfWCBMkldURllKHgyPPhfwF2i1m+7rz/gJ4b1fRMQMUUg9F/JAg7W+xthcD03Lkq7O1ABKbICdKgPK3AJiZWOEBBNgoxS4KOOex+5O71/YYFYnAsj/qPQ6zrIE8o64B1lV2bTKBT6qKLBZSd1KLKgc1MCh4i9e3QcC9FbPxOFhDuDrHhZKUX+/Vj3fV+ccQItWhxtZsVuOnkRRS62YHgrLjxCWW+kiv1Q1QC07+RyfX8zgY72PfVjzEzPzZUJrmpLVzwdMUqp2eQcpmfr2VspgcwyWSAdy1PSg5V6mRWFTSbiCeSDmBqz6zisjyqukXkKZJLqSop7Ei0zfnFBOWP99I0Xp76a+PQ8ZTiMT1KWYW7w28wElVTcOSHCnqg18vBayBm2U/Ibs0cBkJfWaif5SdJA3hOjGCFlMN3MTBiLAylwPHhOczL+/6oaWmbA5b8/AFdBg6GOuZaand94SO09tzX76/RmdBeDPUeMtIgEQ0de/bYCGfDDRQjqhZlEGs50xKhp+TqcetUCeYVE091olj6yHQv0+MkRxo78nUWnohqZoTZoATOC/u54HpLv/ro3dd0pXxnqvplx+9VB6mmGXCPLHSd0UxsHf18CgLt/VBVyeRPiZNrOsVhEuMIuR32mMg7xUuXhUsUOmOrQNEHvrcG6L3z5SUrwbRsOzsrQXuYw6UG3rhrMlFnt0WZJVLIpEf504LM3WkZT46f9cAWs7/O/6dmXbf0Fl6geEtW/l/n2BVBketkU8LJBM0HZ8tU/IrgSbHCjJFVP0Cm6FRc3RIpQg7j+Zl5re6FB6ri3L88B4cwX4Q7bv/8MgZP22NpfKJeWC/lZsddTnVt/nKWMjDYNmAMmFp3BwR//13hzmaQbpD1VKMNFnIHbqytYvfuvjyfOOIMPi0jLM4FwRD/UHpdcehlFz1NQthA5XxuwbVFAjmdF/2nWa3ZrG8ZgDoLmy+VKhXEZNX2vKfVJ6D7WqiXmfV/IdRfx0SNRoqfeSf5w7bjy3BZy+Epk0OIC2KqiYEz+le7WU+hi24nHMm66kTRqRRI4+XJB5W4PRRm8rc6HDvdNv/OLos0AQcRrYE1sEQLtvOU7EAmsES4GJeGgFrq0ZfEuZ+ybNn02b8krqpG86njb3jOLpdDJ5y7Zt9v38WOS3g3Gyd09Ne3I7NT1s65WX9gD+d/oTulLlHKXUwWJSuLHSLRA6m8baESt/EY8ftglHJsFzH+/N4GYrafcBGdavmM9rsDog7BfCjJTUBdgu//fn0dNiwwmkRqiYFkVHK6odazUlDEbrDErlVFxB3KH0RwurrC0dN/u/H5oVTHtuuVc1TyYEPgyZ4/JS0DIHC8FfFfvZXRjj9BN53iw0RNTAB8pJux9x9qZQaYoSE97x+3DPjeNFAkeiIPdNGX+puKzMTkrEDJA4Ke7QxArgiTLTGmUt+ewrBc89+ikZyITAIRnXVzGntcYGE1FcRPAcg0QqAMXx9+DRxmMugk5pDIPOaCfHwGQVVCSaV6VzWcSqTk6OprwM2PPa42fmQ3KqrChunARESAbFLxOWRSDPWsLmq+hmyvFbyq+TalQQXWFetblTqRmPoKLL+D6NbIvrg54XTIS+x1VBWi6HKjnjS11x5RxLaCSIKCySpCQg0fTU9tjqgwXrF2xQD4n3/S6vTGehceh3V1sny6HS6y3RPPWz0o7FqBFhk+WemNzo2wG/MP7+bKnSNa7aRZh5In+Y5gzhR95hJQQxp1M6nVCNwj9HoBxGOtTccTgjPM/YKLyCxn3K1Ko0Pm5msUrMwCIrnLmnRhkVwpmGDBwMm756tM7M7YL6qt8uyOB9++eRhh1iVbKzCocaU3IPPp6jA3O8POTlPlokF9WTnXxBwjNQAjk3+9szbhOZjVnJbUmBHGuUT+ARt5N/r2PGVasTuOakejN7AmKNceePXZDNXVznjn2/UqhoJ/sPPAZf4+PiBYxinl4tPs1xxkQ2Q4x9Rg0fWWdXRxibhK/61yQOfiXk5Y2hzJtgURcAyMhVpF2fuafNC8KY0IV3nCqKRyKBK5XLSZkxuCuU5TkRQDT1JwxSGgF1g64sexAnrJNMPhjysYgFSY6ZOztbfy0yZh3It0lBKIrKlqfy4cE9mA9WOLehGP0Z2DIza2JR/WiEXCuy/h6BLi/ATe5Oa0xZ+m5UexKmSAMECHG3DrRfZyRHOFJw746hLVwBH/oIsVdb2SyEzfiM0EBcwtx1LK5beGnDIXsATomWtBUw+9OMEBie+sqCFhIBSdBur1/bwfGbbyY8w+KZaOeuy2KgRxjae7UhNnpi2iO1HjzdWbM7i/JTPgCsYPDaax0KeIlaylv3Q//D7OoLA+KW4f3M7JhmOi38jEGIk7QiSv8dU4y8xuQEWYqP1EcC722mry3DClT/oAHyubLnATJztVIbQ6/6eyEKPbEfDKGUy7jt1n/w5fvtbE2KqkJdVSb0eJY0b5YTdzPpTeeGROu8HgsVqCsYVRXTxhxMlt8TvIWcF/KQKJ4tdCE8QuCd0763NyXK28FDw+1ryEWkgpSqUTjLNu+gPDFhk68sfnhp3wn60NktcGBOa+tUK0nBdgpwQe77LVeHzn8jNFaVnT6xH9FIanKuonrdf+hpXD/9HzzxUMpBvYtS+PNhv6J3IPNB62CynYuup4wXadtiOEvPHi22j1m10W/vKGuAjMCqcvRLQSXyIt44EcsPvxvyoxP7SMkJLUjgxqK8Rxu6IXam++48ZZD1TZVSMVSp+zdqg9o2KOJooAvXDT4ond/yijrB6L5FSnXUmO9N/x7WLspEYXGF611Zmy84dpFk420bcIMYTzFEtxruQjI9M4Ysq/ck/UfVEOAwUdWbS97INveAgSAvRU1TS/BVluOLdwypwg2gcmoeZMIWqZ98KOGBLv3y7pcmo37E2DceXVtMiLYevIHD4LD5ar4RdXRi3yjETmNJ4pPr4T20VEp1oxDLB8Rr/rrQXmkdBGshL/sg620hyFtE/dzSKE1cuS/C/cBNvIjL4x+buMvlHnnkuSNEJqXsHeYFKGQ19maULq8dfIAf/CBhBB3NOy89HfRzjPiz6qPSaSbi3R+hnGJA5xTWQJE6gHSHRsiEiNDFezZGfL3ezuTSH03T6QvBErBR2gYaN9jW9Nmw/qs8/+FSdsYq9TiScsIPGFd3PKSprwAb2/FWi/ECLOLpqHmMIdUYpzg6z2jSxzwIsgqhFOmk8dX4ojjcwSGWuR3IHGbHy2m8YvYbJupGYWPdZVKLWM9wXRA8oFk8CqJt+rtNMHQSBL+ZKUqkNYXXML0jF1uRryD9serPh8yfoWRnFz8fpfXiuGSZLqBKaK1AVQ33KimvV+NStp6n2rmDoCA1pr9X2OFrcDltDodQAtyrVgKn1WWA1w7KxnQPjjcAolxG8OGs+KVSQHirD8RwKYr3WyXISlzQkSQ1W95xoSenceNGlkC3ZTfVzbmejDbNQ8Dfq8gwKy5TQwUWQrWMbjYkdqNIRl6JgR2IG1hQ3YXpmwmwBnesaQNN3sP4AiU0HhFerCFb9x6CFO3DNVVRUsDR8vFTX+Lck9SezbN/RmdoEHnt/Kkx3V30nS30efZKZFgTNdG8a0gF4hXoJWlU77M8ObnzBoJ63XqOfDkkbT93caxbONckA54AhR5qgvnyDA6IqToMNxd/R6A2Yyn0TklcUAFdcZisjBWrqnyK8C1ETPV2jMgxy60+tJNyBBAJeeFPinBQAqOGh1YlCe34I4yWxQuv6flQyA8Swa9Lx8ZKy1WmPcJNz8YBm5QrQF0uaicTm8ksWVcTjym4mXS37CN3URfEwH4zUvKyD6fpqcO63ZuEItnKrBfw6BkuksvIy5pwcJHfSwg+EF85qx+zy7cOZs+CKvKGrntmHN4Ceb4jN9DS9lhkj9uibAvZRZFN5blah0n0wDyYszRXTzvS+/+wFpfR8s9RNJ8fHFlB6AbRC5/ZxCf3s6hWoKzKohRwIR4asPR0AWl4Wsjm33rxYeNZVWWfrs6PKuRgcS1IyDY/jDEiwFv6y/TAb887bQDr06PbXXHd8jS7MLXbqdKr0diO6AVe1kBZFLCeTNaBIpHHnk2MdJWh4URhVmTXZ0t8CqqSks6IepzFde01PqjfevpwWlTazfTTaAX07FKJakvfaGsxzOwo6qUMZ6SvEztTCQVZZgZ3RFU0b4MQuv1M4QoNJNY5ZsI9eA+gbgzEmIJVbEjknAKtHuloMLc08lTReeTR3oS2BXEjiQ/NAtp3a/pWUJCxceuAA7FtnicOPWNF27kwmKRwuQw/bxfq4nbBe5xKLR00YwnL/3uqvBPKKOaSAyJBBLRByd3tm7FF/DwbY0ugRU3HRZoRP6MzhCPcl1fFlc2YSJmjaC6iyyilOg4Y9bhuzWeQ16um6n3H7mfNGTlimEes+mqcVNg6BXSABGS91WJJarN3Wzl7piP6rUEjOm5rW9VIeFYo31An4RD3lqvbYOtR5Wt0ixRCh3/fQ8uvOyiHvJ+F+wmGcmCSioUpeDuZ6gJD9gmCeEbZ5Hcsaa5MD5r/vA5I0rnyPmBwX0oXMhIeixjhC0TevQAxbGc4iZVo/GPagbyzy/yddivZpoIVDpMVvlXFwlxxCUfjWUuYLXsxLdtcUoXBYvWTmdwx5dKsT6gllk64SWPMJhlZaUrm5l14iP2wLuGSRIoI/zjnw+1qn+ez4t8Oj3wjOeuf/rhqugspCTJkvnZBnqZjQMWpbXYRCT1pxmjQ4K7/IRKOjr3XwZ+Cz94Bxj2TWKZXm+TuqafqRrvaCjfSmBRYBSuEO4Gs7We1fXvFa508WlSAA4+uuWqsRXVHrHhibgnR1zi5XxKLKXlskXzagFfGqYL3awjt3QOovr2Afe2ppNepIERRMlxqHTe85+Kh06Ktwt2KIR7sKUdV0G2MiV6QF71gX4/jkIqsQe1Fr2SKXcXvNRZkin23vumBuI8vPdFEylcDZ7qXgxAMZC7jRG9PUxYA09dw8Jiyyy6MOxWDMazukYOoPWEmRlXFkuzJsl63VnrTJwIz/rv6UqqrCf0LQJaZB6GkD7jydp4TfYmpE/+63zmF8T4eLmDG7CDdcgaRsv+rftehJ2+AKVkGa8W6w0WCLlVQEahGZXyiflOLe8KnMsF5n9CWOyNr8lAIAXmUjzR461zsFqrQt1ZZk+VzKQLUVjuhPRrxBGk8BxroMmY9VZYrFnLhMsCQ1k+PPxg/c1ZPgFnO94ouhR54jqlZB4lnHqr2TxgYla2ZmkiUvy4lEttsHFbv0eI7SCg3XzAVvHSbD9GsHvmBrQEwnjQmoBuEXFyVTue0gij8BVeYDVKuRXXc01bfhNCcTZm2q4zCcSHNHE5oLdmcS/5BdAEo/zZVj5pHGiqA1vIuNy+gktZ5V4EvVI4JIheo0xcb48UjzUOaT1ALJN0kfL3FfzCHIAAeX79lovFlSD8pwViiQHHP82tY/LYFETZErTk1MqXGSM6FCgYymXinxcd/lx9qMRHII208u2RxjMH+GdXglHqDqO/73+k4OTKnR45crYDSJO0Yogiv9eIEHZKXWgHlISIbSeNb3x+aSQvZgiUYICRZJyyWIpYlyiPKGeRDJJfUyXbhhCahPkToB8g8eUVwocQaHLKrn5K/HnyE54j9+tZqkSqvgPBig7Bch9+/o0cLxqdqJuGD1KSYRclCDoNK0QHIQPo84Wlpc/xqaWZYa/Eb+zd7UEHg1kvvNfAFhZ8jwzsamW4aLfgOXzM3vj92JQgcSq6DIIJYERJuu3yrfjz/0HZyeC3c5oPJENJIMZ/+Z1Hkgq7IpSxbuFX6Fk4G2yOtYRH49Mv0l5Y9FiGUpc7WPSzNZKC+ljT15BNDdVRxAr/tPvzR1YyyK+92YOgzkdln4nYKyO77c9maSAiAYiN7XTYi0Htjsi43mft+j8ATFnEbsI55JZ3y5+mUajwfkUjWZj+zY/h8SD74oLJBZ9Kb/nTe3HgEt221ZvH9AM6qaVNFjeprvgqNFKPIXK93oGDa6rSOx2ZvDFaTpBhaIKFOw2UYhBwWyAWYqHs8Gwq1W0Pk6Dgb/PDLQiQs/QzMJpYkmOmUgASCmJoo2HBQI5rkJWLIMthtru6RLm5tk4bMQMMg6zeLR9XCbi7uCZk98gem0oLrEar8oj+h3o+ic77MLuBSR7KPelmVzG3wjE8flbvv7BmnsX5qzBfBEWCHaTqe1KqMlx6KvQbLz2ddUpktJ/6eOGLOpjuQwH9n1Dgyac1WEXLILczMVn0SaJGuY8rOcI0CrrvZmTQhUv92hQnO1hJX+SJfiuZzyNI4AgE5pswq4UOyubqHtKa7iMA3Cy7nMzDMX1qIx2vedL53P+/loIaBr+aP4pcyBn7clQogR24fkXbkBXUjdrNQvYyFnWfUiGl5DsCKf3z4qbsvDf8uFzPIKpptvvV19hDNu10guVg+lmQIxPIwbWzSA4jYVPhEHc6E9B2uCQ8e6QvHXA5k1/8iWa/xtzqLUbv/AMj/Tqu4+DMpYBErE2lCIIe9rlP3mvFp9lQS01EfDkmqvJH2axap9QV6ilFw66GV3ZUAgYBrGXSq3v31OZtC8A+Qzbs9nVVdlpSY3x8XzL1n8khTCGuVkh+RA2bqjI59ZMBvoSicDRXqpFerDWR8w80iu2c+dbt0E2c4PkXykZuZLCLy73u3js8ihyFyeOfuhx2r3ayFTQI3adDCtjCokEiKoKts+KaCOyKLDaqfxeDRrs5YHb1jkJd30dwRIrZ4NntcVh5Qwdo0A30VgA6HDSGGl83UPr/74yRhgqoxiMfBEjFsFIBsiaj29bCi5BUPlzFOFk2KQIm92Xf0lrQeqVKQ69Pjrr2vGus7xFw0l+BnUfSWy17h7QrHO6PV3wDgb8WYXD4A9trTsS50NW/SQFSTQIYVbetYfMJDuAYwDEU5HdEVLZcBlXnXKXJEKtkW4ncgWBxJTh77KCOaVIoXnb0mtx/ighmkTU4l28n1e3hG6DIKyS/kv03NbLBYmsMDYtaCJp9HkY26u/cDzCrQvk6Aw/wFRQskrikZx2ShLUp4tHulx4qxflHAWlARNti6KsVT7Jjly1Sh2UR84ySno1pMckVQe5fg731YCCXnCXOfj83KLtQjbH5uBsaXzUOe3yVC5Xp/k1NJVCjUqrzmz5XH4pXwsw2TITca3WLcBSDTwF4rV78TEhRQS2Pg2bNeyZ/oIka/hV1VT0zFp51yapfhpi5Uj4+Be1guYzEYmndwNOcGDjaJ862Q8+/mv+x5f9CN4zkWIIUwoMFavmSnS6Hjsy1u+7nO+2gb+WSLZbyzW9wmeR44rDf9aMTN/C8LInIEVwudKdy352yUH/4QtVDCBRTy6WiOA8IshUMOoyvVDPyb9srxDPI0evPZcmtlZhtTkg8zZYGqqOkxPVun7m0ohp9NgzrFaqXZNQH4qkRNL6qo+e2I4zJ9n93N3DqSIAPatI/tgDQtc+Tc/IXz/9GC6W6wTVLYVQU+I90xwaWxa5CDePtgqKN35OpImSSZ7pJqhCJoIxYE/J8EVDRcd3ppdJ/E/KFIO610pPguL1t0IFQpakSuKT4nZcwZlyX6l2QtAFdWxI9DV6OW2h2TiKrnjUbQ0AfakKU9uum2ccQl64I3yCOALBAFXWfY/h1x6D/srIetquDJUuc8E/HoB3f0xwk8EgUU0Oxxnj/GIt5KsdGxfAPM0nHb3kr0yHJ/rv6qzOi1APz8iskdlwp3m/9Oq2ln+TJHBOeUQeNMDQnq2XXROcxxU45/vnO2AS/9fP3GBp7GvN0yZulUYPYIyqJGcYSZvJkfnXg/B+X3oFJFdPJKgtyG0Xa3ZXheBwhwxvp3I1D6Lb5RcSzjC1A2RM6LEL6+e2SsmP4DkpIptFQhzsYLnaenqk1rxTIyw5YM30JrOERXdGZuk2LYTUQ0rBR8w8tH6rO9a7ukB0uZoJIsnCrxcKaaJnrfkyx3igPrRojIYB2zn/4IrSpCPU1x5Hp9BsX7AOfmwMARbIzRpWJ8YlkCdFOoWg1qlOYaH9o7UhB6pvGdKzsUTRBITSheF24CDjfr3HvdzBFpL8RdVk2gouVQzjk582cz3YzTYL6g+edJMXb/LUP0kJ4t6eBhr0acMCWlUtEqIuNtM18QptjoK2AuXe4RN+Az1TEchNotvmQ6uFhQwr3JOjGkN/gBT3CPerKP3r5ARQvUzYalspEw+ZwysMNPJW1+r3Jraorf0gp10wu6RfTCcPdYH1t5NnHFRvEJsC1TTYhlUs9NSjAy3N12K0PiEQv0WtBd5SKjrhjgJipnm7jZMm/WGLiw/BlCRbuD5E1BO8MYqOZ1lXWHUUxYdxLRchn2PLLZnqq844OFvwBB73c1XGXUlKZiirhW7kAzS/25mhhoqom704zHWLyx+q6CMwLyB3q2MdFqKFLP7sQrXSlsAHyyPr4Ml0mhGkcMfnUy6BOGbPEDl49aF9PjExgxOnVAOanzhrzpope2zgBtg0MHDhYctKv3/v2UhKS7oQCIRU0M1hkqHnpQvkSQZaSniBbOX1LO6lHB5sd3OPHykKs697AZLOfNvR4AxzDph1oZKKlkmLwZlEVVO4FNAN5rRN5JaFoGup3UrjbF+lqBN4dpFdbQgu8JXIcWpaIwrsYM3bnRbGvvqS94PdBTGzPxBo0l5RW/AZyhHK38L3b1LGExqckFTnmZOCAT+JlIoD9pEAIRIyTbcL1mZ3zSAbV19n3yv9gTaacz7F9641kPzPky3N/HR4OGM2eP8qVO31neHyTcwh1/LyvJqSq7szz+WCENQXEVhkS1g33XtBsSDPIYLSxzk67VCSpPj7rf03Riu65AJVOf2YKOMrDOIPkn0cR2ZE/TexHJ/jKoyAwtpumeZWE+iBVUbgGyuPdNABAn/QJEfQdn85dQyfssGkz4t0z3za3WPnDui396BZPpyo+ib+3emg/5VvKF2AdH3C7pGOVNruOghq8BAJHeRaoMciqbt11Wm2gixn/atrpEfZViT96GfALFRdZXSHeH1GTUfjCq6lxm9cCZh9fxcD4mie3JYZBM5RjF/JfMFUmIiJIkX7bE002qyKVn1+T13crFmY44wsMozkbepwKBXMeoIl1DNX/UvyBUz0Z80O7jaKPnb7MWnMybyA10PnlW4z5oox0BsHDmjUs70zegHL/TaDqSKmm5X4OrSDEES+FZXZCldF9nug7Qi9cmd82EKD6Xy7OYbUrkHiC+94btSrQER0cc9N8LTf+rz4IZvmrIlYdFymsW7kCTydKyCkBH1uxuh1zdUkIykbZlcYqstu3D6CMOyLNUvDR9N3/XxtW5NJZA+Wq2j+/2VEYoVbn8d7cv9OwusSrg9sI1tBhk6cIZ+fxzsDxvrv+BhEgUCbOcR8JYxwpy0A8U6yIAi0agqGS3sYCz0rMTqJ22qTt31RQIspSKqsPmOCXH+ZyCpOfyb1wkPTHLfhPPT0LsHCbkQS5V+fW5F2khiGREVc62m4NVI+EQlaagJYGBiFXNTa8TAPHoFVq8IIOstrZF46uqlTWoBeXTIoqRHRRno5qa3OCYqe71I3fD9DLty+ftJlrxOz3sB89l4Zv5U7z6vFTtuZIJYCgN+uJstLWGr+Dv8Il5TCFXM55tanTtXrCfMCir3QraHX/crea7pfPG56CU3n6BJSmkPDtjG0moRu9r3elNMhrGq+AKffWE9raU5IU/2ba76yPdv7DRQlkVvurZRrnb/Y0WLgBYmFQA52Xuqo2081tZurpPu/p4G0BMRSwass+SEzJyNgAgmDsd0H0Vpyjpj2n/Ujekf7ctYVHxLJB/NHM2Md1heoOw2xH9QGhevk8ea2jPfcx2J6HB1wM2d+MGZI2cvhWKD9tDJRTR8qWfQ6AmTJ0ddS4g2c1PolIqKro5mb7PSUOs5vPLt/X7LfajX5qQqx2s1DvYEMlcG6H8+7OsfacxPf+CORrGex5GUIAz29hZis5GWK03eC4/RrzvGRHexSeFCcFQapVq7+WW4DQjaa7iUU1kpr3vdpQjxo4VXsSdwCNJnqKGtOTj1SvZ0LSoHuZcsAHjfEM/Gcxhoors2FV4jretABdLZxLfHt4+hXL9e6sXWKi9YJpddkp6+Ppd8/X0rwTcygFuaZMN4ldbLL4v7F2SjjQ9jlOqcmCj6Mz7MRT9YBc8joiTog0cqjvKECx7ryFf7M/glC8ShwJL0+he5FGVqfQTPclpCW4tyKkv86Ucm5zz4bkatN4gFnWgpkgrPByJEBYvMWrMrzzzw4c9i8RVgjZsPt+psYo/80KZ3K0a/KkZ1b77dPaUAjtt8YDUuVdRIpp7gGJemD2miJXO7358mZs6h8eaTV+NQxRst187AU6tLcK7VZQDC/dnyu8Gzvp9SJqzg5E+2UFGcQYe5llvckhxqNgvji/6w/cQPJLem2XQEUcPryAUj2ZXisOtffQx0KCHNi9ybB624HRv/4KorDyEWMhmEnw3ldh2/dSCtH26bsMqkcnxcHf8UnB0CNCKBe6gphn3CT8zChzWyGZCK+r/hH/2OIGoIsZHWwSZHwbAl/vEZiRiDsdSMpxLqYpKOo3EvPq+/QEtvTMsSR/OGJUG2pXJ1mstiLvOWK0NqPJ4FcwRYfmujLZZfKUI8LgeBgat5+dStvO/kN3Znki9ryw6qhiviNxERNg1ILUzuyKU6l1lD4v7TeLzRfBwmCi3H8Xhm4MCmGexQkPgQZmDPGwrwp1zi+hX8Qr95Mq0qDG9Q74tg71z51q8WbLn0r7QCaQX1p5SbmUqGzViyMZFSRsSUmowdSW+DKcvE5i60vv4u7ie7vAnd/3Lscy3AQih8qXFjQTi73+1nXHUUZ0nJfrt3zFrFyh/F4U1b1QBs995eGJmVCm51xoOkVKlXY0zfyffVZjkZX6ILvXwqGu/8HhoyZuTUPeTN0HSj63QPO+yVr9/JsU26oCLjtjbBls8dfabvF5z3bUzKItJOH4OblaXaZynrQRLFbQTHdjDDHpewoXwHOsnEuMRxlbWbgP4oErCVDcwT6jd+WtUfvqT6oqO+7AYhdfRXqb96OdzkyVgMAFrlUhc07pgML45ObwtEbrfRfpgxCKJ5iaKGKmoHWVPp4nzfWivy9MVjY5DvH5U+1QSBqfKzjMz85NTt2ZdGs4rjtTi194//HeN2NHKYzrYjwKPWgVLfXUj6Leti0j90S56EZsPNoHUkWoQ3fkZJj486MgOcrDv0NdeGeDkNG1tarNq8fBg7QI+aczFWR27KlXhV0XEeRvim+AXdA8I0/d258ZRzUreK593W6d47UWmP6oY1nby/fYG1Mf+MLHk+4oRS/UjR27ODfG19+7rqscnWzVhMGJWi1Bvr0wvMsNDwNwRK+lu9/glxHhyNmZO+nNX6L0pLRiDBXr5ZiY6PNMr4HzOfLT5DJkhL5jo3QOdgG+CNWhEA2CYXI54iTYD+Ci+UciSeOSs12iq6ihOHnklgmBBCI6CfUBHtujeLnP+e5Fw4e3Jw7Wo8q5tqyqbUD+QYQCEGxxk986G1NmMEnNNL1xm6CuIDihKgrFpX5R8Bf8p0Dr+PrlS82vGx9i6PjwXblItFPneR61GkB69CEt0HBdm0Qub00y3B66/D1asWMBHz9LgFC955uBt58xwGx412bCI1xZ2dMpVaLydx8YmqvgxftNMWUYc32KxbN0/fK5HohRg/plWzwcsFE+W2p+vPllgOLBN3V9dXGgzPjOP3UhHEwRjssnWndVkojxRXi0f4RbpOmRz63UFqua27UScWLAbs9P1NX5uOZibtMWdqg8oiHRVcmfPU8IpDQt/aTjwgfnOidO8gQBfy0W/A3b1GPkJrvhHftps7zVve5Ks2mwnbhwzO4ozFTT0bbObJHp5ERJlW6nhPGscKuay4v/ExdMGDYGHKzSmjYLWrSsTe4swlFJ82hWpzAsUO/uGL+68e8mTdLf7dy+oXS34Cpd2ak2uzXbgbc+aV1JbDgwX4sE1nQFdJAfskoAu1LCjAcgq8j3efwQQaWP4HKoWze5my0UlTK3FFJttqo1Mu4VbWZWFsXV8w+9KVPxDQc8MJuEH7wgfkxSp4+k+9yUSpP76Dqaw9E/YcoDoZhy5kb/eIjsF7A2kZc2TEC0VZ893hl6chGVPncBmZRSaDd5FEUk3cD02lHZIEObH7AaASfoWMo1smvLsNX9qZofsRp8P2e2DQiAsdkSezN7//ikBFJKwxmmM8BNJY/TBaKNZL13skFP1Z7DkZC43fz5xWybT4gzumzqDrfnko1t/M2ihl1YZ8ieqZw6B300sjIaX5foKpk8N4EGXBtPcfMIp8BQa+9bEtVL1foQ5g6Kn7ZaD6PC0zuhaJpDVKYPzQS98tLdgWGDyxLCQQSzQNhrb2ceUPVXY6slE1f1ap1VwzLKIdbX5Q/Ur0RqfZst/A91VgDA/QyLLtB6WQ7SI8gnwUEZl5es3TdLztomSMcK73fZe7dO2I0BX1oeZmceOBXo1IaV3cRZCE8BG67X6J0UTPIT/7Hv8vF20NGC76uUAci2IUlCae8k8/KGkS8s4QE80ZE/e/wvWscSfjVgsZvS4sN/7k21H4TAkVVLtVYdz1JAf+f3HJvIKzfJRXkQQBBE4cibFL3CMDVuwiloJ/3k8v0XmfxhOrSfKhxkuSE7DAFx8Mhwl70jnH8fo8E2zz2knnUxMJGOhQVFGWHlBB0PlzllHhJSLjk+9tB3IS6/YbnocNOkap87Y4+8Au1keJvEDcpfiHdp7ikUpe9mDegK0SIVTHyN5JFys/a6nXRM/3YEcWZmJPLL4EXi338ehfYfN6rnMerd1Qdx4pdnRa6LGTlk/iFcPjxgQ64c2tmb3qrasgyCzN3eOSI4YBqSlPc8+uqgnfntY9/2bTquvxrBoOsweyMOL8pIz/KD+EYtVLjKHcs0T0jROc4JKXhYZONwxGOKq/k5QgokuoBUfjlDd/3jAzyugtx069RJPoTF/w4HmrRI4xhfV1Fdp+5/pJMguoLdUhrdzDod4+/X5/HlsXXwiugnpTM6Gbt2q83LXZcmvJdR88qhnp3mxPC1SXZsZ7/w4iDM5yDYhzrupKbFIh3yfirdutVBq4+RqJkOIIkQ+jxbF+52pvFnXsfqMRUngLCfsyH2vjL1dG2WNvRqjLE92rPj6bzrnL6SroRMziu7LMqa6lcSy6s0KMW8Xo25s8l4Q1P+bEpl6DI4EEeZpcE+pH8Pgx3nYcCGMdk/kPp8UY9iefkZY46CFeeb5SFPe+hPQYG/h9FTgK50BuVQMTG0BzvIUcF03xNpxYIUycTkNfBitSqAzNDdvFE4glI5y1v1KZB7FlyPUHw78x7wqTiY4VUMipenPyh2RhC6pUw7vumKqG3wTnhxRM5bBPTc9cECtsfmd2nBvGicUhcRnDTIKs/ywAbF57vt94q5rYIjTlNUq04LezcZFrbE55kD6gjR0S/6wc2WnrE/4BTMrg3Id/YSfIrDP1M8Iuv7bXowsUxOuP77P703EWUOpC/YBm0SBYGMHWousY/4+oVy8f1zoxiNnGYvfUALtV4CvcroaK0x93rtNWr7U9G4pYgPmZUmvO5MDNxe1q0nR1X2ZDexZGfj6oQn+ibuGE2snHNp9EANpkN+mWXqKDdAu0iiFH7r+OgGn7ehzeEPqZMqxKwHoWNCg3NyHtI3V3unwNFKP1C6GuJ4+ZMHP5IDUZYPCbWLtp1VnCfuGnfvpp6oGoHRtyTzeGUqCs9Wgv4TaWjeuMaZF6EIA2WyhmD3Ebdih8OZYIkS1gePSU1DbvlI65GvMTI76tVsCsJNHV3OaKHS0GjJMdI5VHRJEqTPiRD8AEmJuxbolN8Kr3ecGycpsQ1KrTmLcZDgRb3KK31KKx376I7sQKYZLg+z6JkJfXSTPHQsPRuRmZaK+0jSkaD8HlqAlkORCwtV+LyeaRjriEiXiarhutmCvPS3g5BmlcFAJxf8XCXENqjgCEDzEd/idfKeveAQ0GQ4K/kQ89NX+I8R5SrIbfap9pCsGICBItpZAbfB7G2HqCo0NC96RjSu5dwv8Umx1LyPxdjiscdG6JCexdkVlVBIWUmvEw39mTIFutMPZa+JwoLM0R+IWp9hq5Tl7xMjfVxinAXlLml3uqp0k9hVasSKrTkBscWBDglSJFsBrrXfPapBsWz0izawi1TA16xIYvSrGK+yUbsBjmA1bU/FQ2BjNce2ugn6uUf1u/RN6rDtZRf7wSQZe8W6oLteTyEzOgTXLjaay1at2KZfJxghoP4qUW217e5s16IxWc4dSQzZCbOWTrg7IZZHlF37TtyU4VFHv0xMoActtisFEWwDI4kkSBOex6kqps97XKhZbtvJ7GNa7TOVLTFRoGcsqu7qvBOdHYQELjfFjczcYq9UaoZdDMgRlQUrlk1yVIMW5yzIlMvTkcNoftFAuPLHHLQqGcj8KgQ4fd/68s8h/Mzx1zYT+tH+1V6//0eLO911UR9kg7rC9B/2m8hbs2nqtTRy3qG86o4LPFnq4r/6d21wEzV9dDNZC+8HRBffY0ef3U1TRDzWMsLd2ybFFSWmFM8qY+kGyJiYywf3cKUCAPZnzn2yscFiWXUiij0a/Dyqigggdyr9VkJpBe+QAPEoRQ0OZAnra1WUn9Bwc0I9gGMnIwhQ2jIdwEoNSPnNodXxmU+3IM+wtA5H9NgzYRS65vo0FR08QMuLo9f0NxtBIG6LAZL0LeDwWNKznB0D7+CWPfVokbxWSr3Y8Pw1oOYbmpnw0yWcppTWlgZC5CiBeikHjDmqTloiTM+6b05uL7DpbgILhQex2C5+/5gqKilyy8vS0ifOVE8/XkQmCzHYTCNqrbat0JvxMaLHQeUtCS6KXv7f3lbfLm2M3czlPalMWTUs73XcNlocjnzLimh6bw85ow/uqBf6sxCZkGIBHHjcWD19sPVnI1CI/sjDNN/QhSjr6wv/cUoMuB65UVGOAaAeh3RzHBTp3d5jTiTMspCMuNd1hC2ycb3bKwwcG6obYZRVKUTCvMLOQV7sB0sLISXXivGle1Btk7T2+zATJQ3v33LHWgH4qSGD0n9gsO1CKRF8jCRWw09tfao1xopZNLz1URXn2cWMuuybc9krI7+uPLBNcB7ZXNjOOFHPbjmzMaEair1LSzoADxxGuN5gU0hfU/MWvEAMIrj57jh4Xw48TX8vZ5ewDa3sgWaIurkbkqe4E2FMkvmYTwckfTOsYMD4j0FdzSSyyum0tC3DhUUmGQj61SYWKuyeVtrSISBbJFEZ/RRY8RCvSklSJeoyyK7uGhtsVeU9gyTn5Bfvr2uPPuPdJfJ5H4ps87thUU0K/50OrpsPXelakFSO5jYKncLTB4SusSgDz+5GHuyAt6OgeK2vCf3dmnDeuIsg2Fz6eSKdlWfJeqv9KpDIBAJVLIsOImsaWOuZkf3NmjwL819tB/xgcznSHvlowAnMPfISTNXWlSORaYtNax6Fg0WVz9kbUzK3xNJvhGa5/PaJzz02XUU9mFGj2zfRhEVC9MkPpNDZXVbWRd45MMk6vVBUuiWkaRFdG4EvgtdAYDhi91NhhHlRcRnkXYqLcLc9toey0/t64wx96g/SpelkmUrZGDMtD9BTYBpeaV8ZZl8+rhJUVUTRru1AnrjzNbrj1xRQAY7k7eCjCJCGDIeIHdjkAU4Z85FauMC96bjFVvjXwWXkXE08T4jxxHefmnNEANFEdRDQlwsTphIKZ8WUk/gsN0SgAuIFvUpF5pxfIZJcVXpDGEX0z3q8FzHT5VrjppP50+JKFMFhI/3Fw8MZU0Ar6rl01h6IMnWl/U4RRbe+yJ2FCll7wxrnX0E1jbA+e5qR05cZoo80T5Usj0qj9IsWhHm0mgdVBcGsQB3IwOete+BVNEbbbNggZXRrWyNPoQTvAn6rxvmpw5AxykQOdHE9bb5vy23EVhgXoZ6O3CeiJg0uTK/jbdAwAtVOssCTEoXHbFzLEOBZSWYITtnWYunbNeYiVkKx/U7mFCWwnMbUGB6AYsF8PhroCoUphHWc+B3iG9H+nXQNr8SfbCvZ6nBXGIQPrZRQ/fapSg6CrfcyPvzXPtCPvbgwR+Vkf4FPvrulsMeXJIhsOsziMTRquBaYjDLqMJ/QicsF331QbSFQCLfvXTB2nfinBLMVWzqLFZUQdHB2EGL3S2yPE15T3BKYw1xLScJsfbhvfrUphPaD6j5L578Xy3Jg9xT6UAhCTrtChvquupfFEGTlsMfD1QTcfEAngNwsC5ra2/viTV/R1ICuZVorQRJgSMLHCw5y3QlpokVNObX3xBFq7NG/tB/R4LSlBQVx9jF+5qugmzIaCVR6bA3GrRi8BitShCxUIoPeQRof+WOHJgMhvST8XxGV6hQdgtKyXibHRL5Vz9GnaUcaYKtpAnlJ1sxSPvVDineEDN9UQFGvPHvxnXtSTuA2sn6EwWzj/s4jpD7iIt0AyMkjAf+V+UQmQcx8pFjT/C4CVQ6YOp4gP4ehmDDJdqB9Uuxxm8yttys52KRuVGlJc/II+T3YR3PiFBoS2mF0SjhBLDs7WgYoAs3i9cQi+vzBr1kVGhWHatuYimluacDsU9W/OPo8L/TlRpFLqfCwFgUSIthvCg8QFn8fMK3sKWzTSYl2A1K2PtHGHB/tFOlTdqRhJV+gI+es+LnUubGXYIQDlW6b8xkWsGVZ4rTEoQT5nYRPzhZdcc3iicQNZ3DGvEjslU2Sjs/6sMGP7RXYZ7SkdcsdYhB/PFvq0DR7MFbSSzDju7lFLjJNNE25DIu1c3NzZtZQgl5epZlnTPCNGQkoKwS8l8xk457MfnPiu9RyriiP4GuYSxkNGZqMI9Z8+6iXXbUfe9H7y/C9ahCFdk39qbfnEJYrv71djfrXHoDFJIhpfu3Ccz94lCJocZYmBym0ztxGqm3E4X1J6vDIqw2CmmgOyfuDDxj3ShbAcw6MRVkHBmaJL77wyB8ZFcNcEMQGwrbG9lRKe05scMVxW8cV1EJJZ5kIIV/jMKtHfa+X2QxUSiuv3kFKz/8BRkr55IiWTEI/qX3e4tKVQxiL3aDEdr8ODAr9TfaGzaJbraXNDrrNkKnWUOSJ1ekHyw4Cnooe9v4QoMNjrf9YvScZTqAVXUJSnbtp7IFAplJRaXVBDs1i1aQ5AL0L0lZfSpEa3zgWhXAIuDfLijVcTkNBdrZkOxrdoGvWi8QR4YvlkzPuRPM3w/X0E/PZ2Lagw2XgLAKTNa3UAcZxDuk1RF9JUZO/vDtQXjnPjlULGpvOdz+3jfplTCoEgEW9kJ9XenHxPiHVWTmx0EC5ExxhnCvadABILm094UR4Rx1Ba3uLv1TqNwRzH5J/PCfboGJ8d1+TiMzx11+/A2jOByTOMfO9o0+ML4wtdstJ+5YurizPTo7In1eTV07Cp6nTBAxNh0BkRlRWKjuNTvPvk5YvAIAsaSGu2T+4NKYh+bx6tq5xbSmt/Oly65Tp4qGXYVesy2djnHZn3Btq0PfQvQwAet9xb/H7BN9/V7sHsNv5V3t6CdRGYE2UL+2LRB1hGgIhnl+MW18hZrJdYnX+HK/FXgOBer9q7jDhypAlzf7ytSx6kvmwwNRX2caQf1u3k7mFa994htrO1Vgi+adROvfsZyhcwsG5vRCGcAO/9r65FdPg2M737SnrKzLU+mENR179xUh5C5r7GA/nqYsAptr4bQIuRcFxG4yxtuYA60m+PzDsqYnV2uTzVvJO5wcpUml1UcK6kEdQ7jjrKovROoW7kY37zRZ6j5/R3+LUfdzhc5onktKtTX0nMlN8c7Ir1vayK5OxlJ2KzqZ57o+Ir7e2IanIq9omafNRg8OukzEpH2GBLsiW/Ia4f131sBjzaRAUu7KnuqqiNNaL8DgvRTeT5NPFpHveBzRf/+z2Tq7y6BjCF40jdQhoa5hn0urCMrrKCK0fI7k5NoVbuACpqJOywjI5uH22eHvjZLZ3c3rzTlMhE+6BwPGDbhWha5vU2VwJ6T8MJMOi1JzwguJe7Z0ws8IFQeDH+ofnjy2Rfc0BsOq4UIYvNaehHhsvOdpE1F4dcQgnzruulfLBgZXh9+9tzroZ78deSeWyXZw40Aeff1xkVEZaDaD4FDITHk4EwvzWksFnCG1fnlxd+QVAsbdnFjXp11JZhfdzF79+jhTllAUS7QvLeUWcVNgpwSjQCCH8lguwRqWdl7xxnPQnLg4/3DuJNDCk5GBhqthNhlEbTLJFsrE2wZmdSuGSWgokyB3XOgWgcg8KtGSyEXqYu14Gw4/SojHsxhcsBMe33C1wiHcwJG7m6dajDy0F5mAGRpJn42jm3E2EfyDZWseG0buZKP2Hpm84i8aArSU4i9fEAmaRS6KJdLIL/24tD3z7HIY+KBqpdh3Q7k/rdXkhtr2WftZ7BdbpkgMIsPwrA3ASTWiL5waCUO2MXVDBjsft88nuZE8lm3PC8vRLaFQ/WrEv/8b/ioRtzhPgqKzoN+myS3I4QeQGpTA8M6zfjRBEwx99s+ThWx9AL1n1xtICbTyMMIM+E21b8kZPlzkl1gx0LWnPublViZgBTaP2TIpoPv7JougG3jbnZ1QPNWU7oZnpu7KhPGlwODycl+izUhYu046DILvpq/FWWjZawhvZGR+qOpyhUSRp9wL7IaPLlfPymNNGEuT83i0Z0EedbsdGnlNSMuLbIG4IWnrmARr1bT8bXwfa6Q0CZ/dxEtOOncaKmR8IBcMBo0zKU61gwaIcP1eB56EX4kk1DjUxQWJG3K1/kMDoXHaNeExeXV/lryNURB7cBAAkYvIqVy8NHcwd6xMr2R4ZgupV/q6hKQhfo2DItoHaqFFqfwpn8PuxgZ/ucyHx5GaWVkigtrA5TGFuAoRGjwki3I6e6PskFty57JOlm3BzH6Tt4oYDMnlh541LvFy4j/WqxLjSP0/vjgr+baOYOkQpGuh8BpbwCNtZU5dU3+nXtJb4BlB7zA0jW8oIAZw/leXa9eXPHWAji3uH2A5L3gkW5x/INCjI+Fe7ZgSvEobz7RvVq779Y204h3RUY1QWKRJBD00NUWacuMkXFngAMrZqezIU6NatqQkIM1tTnq8kPDouaiLPEEWvWONWAFZjVGQoRANN1wNhnAO4rjI3WLavHICB0Z8eGQ6+OF4rx06eMFEMVxQXxSXgU7AGTkUEanWyC4y+vU3JfvVQX/+tiMKLIxivKWYooo1EHVfxDoBdTnLsYuY+fmJTLvrHiKR2g3gWBHhB5mErVAjNFlhFZJyEz6K/bD9EpNzcqzqw8aS8Ept5FvPGuN5qxwkpVPyTOF9y0B7rbaPeaWo6MbkAk6OTMMQOJ9pf5Sw3mqcbH/FLFojJDh28xAEj22oRhqUqE3C9Rqi3dhXH0fpExCw+8Yu2GSkGh8cJ3LCl/JnOEe0BG+7xP2Ydwy/jbnWwDHmA4pLDgaUQyHzzfHJxOK8X6pbHfh7w2l5BYqir9DtdOr7GnsLVjdVk9fxdMSYFJ2bm9z5UgYyS968RMzmS8rlyKNJSQF9P7eL0bPTCnHlF1RhPCL1seeUiO+q3rbOnu7+qQz1TV+/V2eUGW58gnpyWHgk5PA7vmwIHxZ7MXIQ83diyDEb7MDx3lJjXNd9X1l1isOyTsXC35HIfbhLq1uFmpO2pDFRDPiTQ+20SwZYzXylsA1ExELq2KeoxgNgEb4UjlI3398sygCwUax4r4/e6IIIwZ7tFIRQyM9fzksO/JvVzLkgbQe7O0N68viR30jqcjhBMT4aB4QaDMEo+PEZSckmzRqghNECdQdkaD1Ucsd/O9J6o9tEdol3boCOUCU1TBHk6fFpRfj8etmyyuwlRF/CmPJBTlFcBEQgrErYMHUOX9UtsT836i+Fgxq+4CAabE42Ab6nbf65y45bABnC6VvBKiQSSwND5BHFvGj/qreMPY9i4bAM9ePx/kvINNaF5uzL5fazMVpyED9/1GdNhtmXKQw6xw7w9pfccfNo8pAhkScvXiym4pg/s0oKKpAe+SJtcpxwI4q8yErn3vTYMggGHfTUovnSUe4XQb8e7ICY62NpcwKho8DwiozAAmV0L4c0ngIuY4+u4uh+dJxrUPnrggqtFNg515+ykpf18Zvh2TGAnvg6wr4a2tls7r40AXUW5f660XkK2oIX6BvbIqDOB6/oQTGRIEF2D0/YQWdpKKdq5OuTsYY/6Rdff0dSZvhkP5xfa3/wBNHo0v2J9J/OTHAGTsFoHZkQzFUnEqmnaAvHeYCoHbrIEYshyKZAKZlm3q10YHW5KokeyKlbxfoAZsh/06Y6mp7NMY/AF3CDug3E4B7coEMmJyVGQvOSAMmSMpSAnVKbMOmXmQeY69lB71+R3KOhNhE9FxX4QC37FQ8WvG2roqvsRAQuBH6jj7jK4YumKUAPcy433BinNv+CiV7dWaRsKYrXYIm5T9nLI4s+SxV++CNXPJfUEYuUKyXlbhs7xxCJvlEc8fXezYDm1kcIHFZtluUtsV7joppfAgnob69TUxJE9Rk/D41pS5gEE+j0xKkx1u2JoFo0t6DUCw90Ty3sAFFpEJ0fzd5ppiQ5X4QZHY3Ah13kv9gZ6DYE9oCrWMhNY/AhaxG+3uv78P8D57K0iYpG8qUCO0uoVZQUCSwMbTwe+S13BMTdpRpMokOIAoZYAkBA0Lqx5U5zB+O+//ysayCReav1GnfiPqNcQfdpTTwL2ZvaVR2bkMiSeOclkr/LZP0yR3gaDHhZJgbRpehU/dey7kdWBd82WpJUxzw/00/DMbfyV2fow/pGInqCyJK3cu2XqVNQMYr/y2tOB5Naq7EIJK44nB/eFrhLWkgy1W8+5hyqXq+WqB040el4kgeRWehPHfeRCWigrNDbj/O7b2uKxGA6XA/zpeAOtfmivWzWl5MX8mBi5CVFNc4BGHYkFp3HilKW1W43Nw5OuEJash3oct73jQxdqkrWWIw9pAouVTBeXGewiVGk+91CuwlCP47NBIyM41SGUpzVDUbnWH3HAo9N9YyuM+hRg4Adr2n/MitNbluku+2ER31K2nhUUc3IHCDGnLxwigQfdYAqqt2q+uwpo2ba3fLO7KvOr6fFB/qF0bWZvD48n1Ac8jujgrz4zEOzbc6RNpMpEITamcWc1Vtc6MDC11DU7Ety4ITTwlrhvBlTzhSKYxrhoZknz6JyJhoa9QOmLEI2RFX6dg0MVC8jfi5AlEkp7jqM2980zQjDpQIxITDqBA2QvfSuILIcotXYs7F1/x+4ZZOVIc40q32iA6IMJnliQw4dvDh80uFviWwuitFTsd7eWIZo7GcGnIMTrtKIVIIXqOOSH2FzNV2l/MsOMK+xXsgO38es17ge61EnecSiNgtFy6dnKQuN5em2nk1+sMQvkmTmga2tpIDBpPS00M01bKt6iNSu9SV6HYk9vcjPyb9v69wh/XJbiEArdnpPVdZN+8PKY3V2DrxhTvvviHY2KpJEtb4u/zZBJ+Qon6kvtZsYlE8BSRBuRLYbncvD/CnCA5ftCzNR+DWB4c0O83CSqQ+h6hf7M8XHyUQtccvsC9qh4UIW1jL345TB/lluZGQrcW1TutJbhRmbWtgi1mZ6gCfYse2E0+rXsSz7sxUdR8TMTnrEzdZo9HMtcM5sjQOnIc22+vyocFsn8eaCNCDUBcOgEtphPiOpHfZCy+9iDcdgL9Bnd1sKuQQh5DOEE2fhEqcX81qm300jxGKk3Ig9VTQfmuLJYyEkZqntBjXAvRMUyaqXA4R2LEIY0ZZMGQNUpsg5pGSKln6tk6Kw0OKPjYl2rVnsRZvwn2lk33xXnguVENcQXCwMMtAwJVV9+nxRwy+y9d9QhEvrM8Xqxss3AiA+cOzM4rPbk45EZK5lwzQe5DYlVXCsqow4xDYZApt1JIndFVWcB9wX/UHqHOq3H3+GEn6AJ3Vt+ySGWdDPIIzZjkLN+Gc+z5tyJXJe7VBZuYkAAWOYZ10qQRtlZ0rI6NNmQmDQ6L+LZjudG2w6fJvcmwbblF9KbrlbcoyKImJbjwNakHF6bT8I2DEx2uxGg4EfEykNfUuj5gJkUedxdh3JZoHmBBBBvjKhyyQt4S5a0gV8EIRGSEep00/Bs+OWeGAvSUGg+lyPeQBo6KffPLY54GoE2xvjs7buE/hiDRTEfTbvIRhpFCvka+elxfA/g9cQ7nAjWFbaVZ7s5Xb1TSHZ0vFQkvQRm3cfSDA25gnD1GWFbF15Pjx4qzmWoelLFOhLfRdLmeqYNTKagIV6PW8r7bmVjJRfvHMyN3M/CLFMbNcPRxgqKxYG6SdHf4KS5b0SyhwaV7QwlaAvh4HlCm9PfidOLIA8sYCHRoYA61LRbKVlfj4Ce8oNDWjlJnsh4hqRpwGaoupMlJTbph4WXky1/oG1uVJobGE1rBw1aSdX2kXKCfBCn/06MqzXFTVIPJLaTRecJOZDyLNL0PW7on5xnGm3Z96iw0aYRQfwwA4K270eEySpNFwi3R0CbBXaPdBwnclk0wKqYE+X5jTLV4BRFpkaB+BVCJaZ0YOCi9Sy/00oezj079hvENXydC9vkwqs0MjCkhLhP3kuY4iDWUlihny9vqsu2AImO0Ai/dwOMDPcIQaOPxe2VI+zc0vyoaCj9GvcT9/SK8DCWhMVzcpdVhjIoj3ZZkXQqKYTmEat2LObpwPh/KZwHp5LGhbVeOAMnIpH64sxyl71fOJL9P5b2EoYtkYgi+ZiXhGVR5Fs85mf4ejsyiKfobX4b1h4opTV3XOBt8zM5HgRRvRhnn/mGK5BYqLNeflfN5iGceyJwk2TC56RAN+++dHUgD3xYW0qk44TkVDu+mNRLcQk5h7WGhG2ym4JFtGhZKrj1+68UPFrakBwF1FIU8uwUVQvXMak4NzBZe3Np/2ZhDScWpeIcDYMRPJfzgn8MlimBov+DP37RQK9DQmo8lqqtIB42tWJylQYeA1qzbnho8q9vgnauRSJQq9mDn9dBnafMAgX+gyau48hAGDREA0ZLstpzZLj0LZSj4ztq2k9AEHxMyQzVaa3E6k/DASOjkwae0dxn0kqjS6drHOd341gbvhPmnfmm1Ny+LZ+ha+Fl41NbI6dI6v00+wmdFn9WURwMys/F4NI8XPq44YGnzNOc5hylpIZb9p1AEjLCaRZDvAI8fmVjX4a5e4vySmP790VEy0t/7lsUPSl0kBTxOAJuyt2mofDoSaJw0WQHVesTodb1V8+aLHYLNI5+SbbpgoqFk4IMxd033sS3lBkf8TbO8fekAPCvbyIOqOObO40qrCT8xcFcpj7yFyo7VhoWEGLyZlelWfyLUjiCzMZyIsV4k0d5xG8TRHyFpwE9bq4LPyqpjBFAHgzPR/3I6pJF42MdLSMSxdRemoIF2PmPi60f5mwgJQ3CVGNEJu4IxCGVmUdmGMA+iuIkpCdHTRJ5uoq2iPT3LDeeB/L3XPHigB9KdibKN/mYD4+IJPmlTj68AqolIqo3iN6aML5IzWAwPW8zyWu8LQFC6aTcDsbY1RtBODRRYfqn8ZC+EODPVbKsxbUTZlYJFaoAJg9F/iTJXq73AI0IQ83qNugX4tgFNakb25l4tlCXwZiZlVdyJuq+zCMop7BMOG8BLYHNdKjFDje+Dqg3KZ6cNF3kfdFfr5Fk/wK7Nz4QgaUjn7D9Rhmk/8tPSUtbNa6vcGvnyKnuvRx3iGpRobkAR8SFGrYtkA+ZncB87VkS0JjY2zhZ5PBiEBRYvup1nahLG+L8Ud2PBywwYsucwaFxOoRqwiMaOhMeUnxpt9TXu8BkfSfkbp5eHHQyIVrmNAUM24W+AsQZJi1E9Zc6CKSLHr7hQYeWgkD3RIGmzRKwKJyN/LIB5z2GAbAu6sXusnKWCb8rh9LKNDE8aiX294XjZ6qkvxyD2dXOfESl91S6YI4UvgdWSkwZaIpDYMU+zvl0Oh1e68CkE0bxHeAebebPDVy+A6Vg0xeuAfaypmD1xmcaP6OShlNP6TVBWJLf5TLOImS+aUWT9kvW3sVlgUWUnJFJ1J3557+Uby0V8LbjKDrLJnBqe25n8pe+pgGNVyB5FFoV3cuie7kxQnEQTMJ3Mqg0GaNrRNf5TblfrDJbFEYA4K4WfvkcwwgWi44t6NNaB5iOZYcjQLZGwXGB7T5geapAzZ0HlFZ7smmj8VNtYqTyHemfJ8p/7T857siECpOBCDpVkI+nomZbL30apSjjhsIowufBjF7Tjl33LNcdnJEn8bKt5mQkO7pIhjwIs8LE3k27QGCmHvbF6yqjp6f0km58j8oY+rn7Y+uDR6IrEaWXnQQNav5M0cWDc8ewHsA0RgUUpvttXOcVf0HD4ebwLmHaR/JZwuc+O7Xmsj1NFan7uXztUmxVPLLfAoJ5geOKwTBhO9BMz9CzAnJ7Lu6HA6wnzcpafj2UtcLZtdrRWdsiZdp+zC0SiAIN9aHIxA+WjwPS4fLz098J2kA9w5gzJsyI9w016DGo4m57/SipATLEjq4uSTVYvHQEUBs2FWUrI9+KguWsTPX0kMyrxH9gOegE57LLM137UuNZx5UPItbfIrrEKjtLwfRL3kMUok79kIviDGJN1mDKBu6t1U2Y5y2VAgje6ntKsPZQPS4mVV+vaN7nFzZbbdqmDpxF6UwKrmFRPWpLL6fYC6QYTmICSCMGS78RyZQ5/aLfrEN27OooSwHuw+sLxTmlF6hZXWTF/0/FAoP1QdEUrw0cFEm1Ps4ZgvyHmwfBPRjANYpYtKC1HZDzH7v9VzdCEPGEL5a1na+hyViKmIsLkUuB3NuxPRXuFB8OBzebv2jjh7VIKILlVTiwsNvDpw47SwveIwpvu8tEFFCZF/QVQ1nf285Y70M/iaART3o191Q/Pp0o2/wmtIzhZcTLuae9GWKMWPFoByf5UEHDCBsK5as8+Covd1xXuSvt38gG30jAm11JzWjlD4dtQqWTCsHYeB607DueRrQ9O7dHgWM6yHXYGbd7FQ6VvPnhXsjUXf9CWj1hxE9g/EY4FgD9kccEc2jsbru1umIfu1os2/WXIVyi8LWHnm+GIcBi/cISmBOo9jdVeDd9h/UlRwWJ7STBn6+NNlUDSgzxqo6ql7//78lJN0t9sCKqWGxiGiJVT3/qAOti7hnBWnbOhJXIxaGQeS2daeZ800XFjZB7U+QBFP4wSiWZ5v5LNs8D87Y/BqGgtRwvgVWi6s53ncJ9QBriq0mOb9hMMlTFoklrL++KMSkLeGdEI94QJge5U2yMrpdoC1UWKbkHOIx19MUPf9oJ8Zc7fht+UAxSkKadZ9ySOxwF28+9iX+Jx9O9+YIxqezaGHp7miNaBdbCokjFYAVoZ8/j/m/4/bQojUNDv5tO1o1o9VdY4yOVy5jlTalXbAa9Iupt5BA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40830276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EXCESSIVELY LATE TRIPS</a:t>
            </a:r>
            <a:br>
              <a:rPr lang="en-US" dirty="0"/>
            </a:br>
            <a:r>
              <a:rPr lang="en-US" b="0" dirty="0"/>
              <a:t>Pick-ups greater than 30 minutes late continue to stay below target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/tH87o7nelYFK2VXkEbEex9aUA02L9wUwfqjDLu9Hk01VKVS+tme92GV26vRMSTk1ktVIaBsDd9XorqWmk5JMi9vcw7TvhyAOYF6IZLRNSpHIW28Ivji3a9jy7RTYGv0CEZrt1fVJ+f9EegbxXISlMfzFQma4cCj2gxGfZ059S0QPRDw20KX/MuoiLjXOuVvqnl+FXy9wFphR6brLetC9uV25pCNov2OBXb5GeB6TjvZnYmRFbwOty9XCNCI9o+aM4aaGMSBEnVNHfQWJdTrwxsQXKmKWUVaEIPp3gy6FSXDskGJGdffRC5/ph3lIJUz59YoVmaxCN9e/31v10LqRIZM2nbN3UGGTtHr2+aUoThu4Eqj81iHsQX+qh0ejDpy5t+VVNdtY9cnEuV5yz5jpRW/sB1h6X6n/sE6gnzXET6wCgss1oZneKZoWUA6Wid5dVmFrYC1CXaNwcGbYLBnQse+OxyN0j+ga95xUE1FMHSrKWARpmfer3fKoEDA5Yfvg5UBqHt/m5xidsPB+rAZyo2MvK07DRUnjg9h5gSEu68m0aAFHKf/8frHgiqu/WUJUsFd6kZLQGQnr/kiaucIHFgCqVASHX/gNR2YSn5OMsnKH6d5F2PhfDqRVXvdRHjBj2G419ku8kI1HNYc6Pmgqc2YZxS/oSz2+OQa+VTIGnY8Ne/cpAbv+A0egLlwyeImCbnuueFDb3T5/lBzE18kkaAcB6yvZkZK3iTf898wqYQgrbkNn5fYIBblrrmXTq/Fk1MtqZneo7QpNesXVh25HTmVAnSrvvURQBIspCVXfmbxmtsVO07/7+G9dNbpJmRHurN3w3tTu5UQ0YqBmUewCJQmBUTNF+ghzDaitGDv1feJLmSJHMLgmXWcP2FsCAmOS+w3wFXJ7KGfcdb2SHYHM8XMU5AOcrPZKpTYA+O4bUQ+DqXszGGHsR6R/nGHAStunLbk9wJjvv5jUoHgB/O7GYTuW2ShDm9gysLmnj9mxrs3CEBHkmrY86dPgeHUA70ogajUTEqZ+pL9HwfGbNMiTREzIxEOW+SDkUZXv03Ru7KCbqQYEGN0TzcQ6xaBf2DxoHNoMdoR7xemKaEBi8Eh29rvBGOhzYqrFyrI1zWndabXiFKsNgWZDp2ftCMhNXESTsJa4qx1Sj2hAJcZDu2jLRkWmHKXkAdl8tHkrSyVqZUgBPDOmQp9n5TmufY3MfFKnCltqNao8q7fyGuQsTypFA1jRlpgzW7CAAXZJ67ADLjfUg025m2w/WqujPLVzMg5oeXmW2l4aDX3RpNGJDc+3f2PNSFA8tIC0swD6Une9nA22iLWAmss9yhudO/FHLKr9t3Vwlh1pOaFJOlrr6jH63J9Y7UEyTpGlvBij/KWPrLw5KSBVNcuG73ggqV+/mU5mfJ333V0Rbw85Dyu4plg4X+7mvg1ycr0JtRV7mezaKU12QDqddr51S1I2PLnNNTVwSay4zLknt/PkEKY1uYASVDHrRRuFbPno4U2Yx8ZTf4liqhCWpmp6gDpkZW0VSV3jl8jVjMh2iNmV1jivXfTJP9V3QX6+G8+36fW4k5LfctFx0cO8tqT0aM5nrmJPBHTW7K4mlVK6f5pVcLkKfREijJDqNMmsEAEgT3TZbW0e0yR8ylcG8WoqnDtpEoYV1OlsYFsgXUdXib6MhRUAhLW/RC5hfmW7ZCeUCOuyjnEG00Ws1h++/vKlgSm9cWk4Vs4k6bpNuYH4T2h66iQHCDw0sQiB2Ox54vPgUDZcqE3P1dX0qrDC8Ksef31RsveoCMiFieXyOfhENawT1GNX4j3ecIGvA70BXNNHT68rIzp54dK2mrdty5UctI5EmcWMvlEbkOqnlhjN+NAUwDlR6yU80c6LhcOI3IGYyX+AvvSvitUpqVkJgpBs5B8Di1kAcRy1WYzgrHGhElk+NjifBEYfVBjAgmiezIdf/R+bn/5cP+PEqjXgw7Jx3KJ67TZGEvtnHClqc8yGT1U6+7Er3DjAyU+TNEP8ogTxIPYrO0Z1pYHduxFVUwfQMDOhEt4bj+yEAfT8moMsYGELTxMhVBnrB7S3YFCTYMGBkOjaaGvirKD+ZlSC2Ahix719CCpWTpTfWJpHAlPtF+2mEAp4w7UmlGtYypx+PcmEdrqL3YZGVzIgbAT69WmFDH4SP0jssnIJFQ8jnZU27EG3NmT6QX8yheviYF1iqpvUjbERKiQvshCqN6sHFsKfCePA9tUKMw1h2apl2igz0wZSvrQ+MhwVY1p+KKi0ZOGXjNAVY2yR9GQaHEz9qcV50Aabp+dhJik+ctIpRjvCu5NskhLmzb0fLt3wuDC4tBwz8EdOfYc9ISI2jmS56FK80ZSKZtqiM6jA3LChtFlxOlgKGiO12Lf8GcLiYyItLX4e6T/dgwmGZuf1tfm8Shvksau/AcS+18HB0xBQLZbU8R1m4l8Gy2DW9TRnyYtiRXsrmdnnvU+x7bkxurYwjrhoda+/kaehdYeEp2ghARsrBWMBKopOOTgQl9MH77aruWzo28cBBOZX4IlWSHLHpV3JJdvWtjcZuBogbbzWqZLTdMcx7ddQwwHYyF6yG2IP7qWhILeoB5po9lJWKW4PA5KqDPEggQojq/V8a3NHuJ2j0rosk9u1yxuJBtHST/Xt24eiz9/woNkSlYUGlVMTU+j12/eMjE0sp77pMCuOzwdHNk507Yi9iwOxVEpYKYK1ImfxVIhDFXQfnv2Xee4AZXLKG8xMTvFDAOoOiEMb3oU6Y8rw9Q6HUkjeWAunPEDmUE9KyjKHY5pWZod9lgXCairmWbf+J4/FG2RtL9gAUSL2WgupobjrgG+wrIN244JvlfEd1dsqchUq2g35+tlPGEg2CkBErCEe8xH8+HxNb2IyVUmB66d/aWR3RFdC1w1Vc+Yfg+BCtj5q6KPa7yfVTBMJtxLEh2kMBuHqecEgnD+zy+sYZYbs6Kw0hc8ygW9sHNTRYvKnLe6pPcQ1MzAYF2/obvBc7L+cAqX+8DsiULGuiCo2MA8bSKoMmNCJtiAYTmNzPmdfoKkoJSAdhkV4Z7wivc/OehoBNYG161bU8WwkY92Sn7Zn3jz1kXZ65Z8k/b2LBEEvbJfG6t96GrV3t+UEvJtICzOO0j0v2X7rvSVyE0z4XjDRDs5CT5HYHrN8ZtJZgII37QOf8o5IcdAdluxGD3NcRd3bow2OxadGNSS02VKp7M4Snm5zAfKSB5cBASAV3KeWZodk++HmvmPMQKfeC57Wq34LNC67+CzWDLI2RakMSK5jKu9R82+qrjgqfx7CTMZiYR4Lcg37q+jlo5F3FW4+8Kb56L1vGl3dLOgqsORItYfJaefODHwmSJT5QMhFlrh6xroP6kEN1AjJ4KQA58sDnYf8TIYt1cgyGiOVeC2RDHI44jsgLti8lpO6aXy/y3A/IOzLbgpudBmCYGOtYAytcW7fO3wVof/eVm+fs9dJZCdullkg1dl9sMMWusxf1+3Y5Re70YhItx7NBp+xkaeYp8o/ETw4q0fzA9wGIUUBME36aEpDwpamy8u8QoyWrr/nPYYf56JlIYEqKgGKRgC/JSnlkmf4HMVdE7Vulq3r3wvcdSzAck50l6TEs8CUJCUbdhqocYkrbRT17Z3UUtUji4JCQQK08zQuD6p3/QrrvS9ZMPAnvmsDcEnZEkjZ8YqEHApcbCKIg32A0ZcYQYGl8uqW/M3aemEIE6QGSd+CWBJn0sOW5KSzANfwOIQEL6hNKklJAFYpuuRYYiHCrzkh5ufCFrVWxP4eL1B53NOERZlLaP0S5JQezcSL4h6doyopSJh5WOswQuki3BiaDtO42XwcZ9iim/I1QPnPoe8ds0nKfLq/9KMEJmr/fzVoLlt/nfRs1Gx2SZqxl/hUhs5yEpz1+Z1hMYpjUq1YYzRWY3WrPvPXH6rlvzrVtPb1vYpEyKzTg0WncDDpnchjGXR7hwvCM0lzMLXbutKSXwfgz7GxsM+2zGJqXbRnW2GLi1WzlRDOOidBGTLDXHoCb7gz1aI9bvHJhJ0HKFRjRSC9rErkGq8+cilrj2iPI1ZsmACM550kWIKfOooqo1aBG5ISUmx0gFQVI5GVHxWQF2tnE3FhtOpmmDAvgGq19SAs6ZJdD+WuxrJQWZcMlZtq1L8q2wdkwPrlUt5iznAqDTE7u06JNKyYxEt4uAxs5By4Kj/gP3zr0PgIdeNIBGaePF+d38m+VG0qEBFDMWXSSQiYdE0T1mwBp41ZDb5sESwgJm30/bShwYGfJYKeRnmNIIXfANB1pNFTp05xwbsfTDJPidmpq97lPWc4k1jbyJiWZCvXYOZR9tW3XfP+SSjrrh6Qd2cX4b4t/wVd1YJ10ZnpFjta0CPT2PGFjcms5QbSJ5hWtmEi+8rgrJj6RIlY2cV6rJ1F7QuUHAD3qSt4h55v33bIxlx6H0xJYo1zv3vBGMvaeYC2YQ6wM2WMrBmOKIgPQCTccSLOXeuVX0ByuD77Zfz8dwe/QZaMNuI2U5qwLuSz37xyFZuEI4MBChZqvI7RsVZeJKuYUiRTepJFdkCZSph24LFYPoxnAUnjg137As/x/S3bKWoQDco5R3FjfRr5ORB+FKl88JBGd1S8M0/UJlPyt/lFFveMgcOat2qZskxcbO1P5T6pH8piL8SDsLRaYQ3PqYDQLXsVpmBQdPtCCgooP84xhjdD1yrOS/63YNr1zc7ty/cKa0E6sCW2cruhK1K/hpPp8D3dB615SAlo6LHewiliQAKlJuNiSIeNA6hHFd/RYPNZrErur7t/5Xgnld02dXCS81OiRf+5JzIqD9AITKAbmJtNZBclSt0yZx/iMJMFpuQiF8538Tf30ZsE2tBzFNvy25UIBSRzwPbo7kQ1Szj33OPtNxn97Z9gK580uIvahstVHn7C3y1PB6jgHynDT0WwAfeIJUYzkvunvkHbQgf9NeAIVdF6RcOQ+xd/0YDLkEGqVwcZjYN8LH34SOtBjzb0oQveKVL45Sxgc+fho86kRdXMw8X2w+Y2VJqRaeSBtIsdBST8Zl/fmRW8bKXu4JzzRmMu0J8gSGkGUiwDi/ozMdbI86+FDahmH4hw0vKDZSoA/ryZHRcfc0rROa1wsW/8bC8qS0hf3deb//c3D+wGdirQ00V3YWM3c9u1ig+wGtGnwo7g2WrJBcJdxV8aG5en6i3BmrVgyzzCepPc3vd7qzXTngFIk6RrzwXzTCu4o34lETtgRJ8f3VpP6UybZ6R1+Lax1K2Kb+reP2E/nNnq0wuRyEFpdDVz+mNMu0kaz9CXw2k8UOUYOYDd+ClEFQbu2+PfsW9c5iY3eBVxURTzz61hNmxim7TggPq3BYXOCjeKKBlxwS87wPQ4ZstyW7d9cgwt0V5acgTTUwW07s0joxnMVSbklNJLCviBkgG8za+/24X83oSYlW1VjuBO8NS3qXhWeLbZme40QjlhkdjJ/f3NHm2NneAiZbUT67M7EaFLXw5K3Q4AcsM1P4/gQSWt9V5Ujncjl2uEw8WeNvfH8R+aE9x7ugfmHT2rXICgguFLs1SnIDneFbDbyYEhSSzwf9D1/D/d6QR0lfPZ2iLWP0/xj83/UCK9zXVrJslfRXtc9CpX1o5PYfPWP8pGUw1l6U4OGIGCLNtPH9Oj8LgROEa2g7rb9dacYsIClR6dTEbQPfqfiIz03JEaMW1FG0aoGmKUWdSEgDtnZjLEF/bb0tx0WkflcTBUlChDXNIbEuU9OSYEvdtwTXyYc1eyyO8UyVz1hoFw96mRR1oaJiIssRv+H+R773HEtbDRzuaaeY0hjJhjlKCwfNMJg/YUCAl9nP0WMv5xW+613dHI9M6/wvqC5nrOQFuWQ0G5A7OgDqXeZsVyvta/B/xuBqjrnmetwb0RIlJH29IyiqQAs8qz7tyYFI3ZR5H2qb1VgplpisbruOIEP256TRJu4nacq975VAQjQn1x9VEkS02jcbBqgfdDiny9zV1YUDRbuJdM0G/Chu19QjlZQgwC2sjuPxtS4X4gB2MJgGj9/mTO5i7byi1I06gL2qxuK7euL+DQWpa/R+hmR2yg1B8WAnDNaqekofI0NASt58oZuGprevbO0cQggR99UyBh48EFxXa1OwdQRRTTDC1n0LXeEf7rmvaz3vZIhPx9TvoOV+etz0it1rkV9lpAKK47vbMg8DaSrBda0EiN1xwqm2FnnMFaBpUE0jBzUrEzE+Z2Qg/pDkczrDAliaixn8fQCGmxeQ/U1OxTot7A6MugUfMEBRYMdqHRmp9zU/3ZpZudUxPd0iBkqco7kv0eS6bRm9QN1juAmrBgQkJuf/UP45G5D5OsdLrx6p/Hn8Lt3b/DcsBUWIP4myex+Tt1FgHLN6iLXbhQcJl/6UmfpdoMv8E1D+tftd905u0pH4gSDw9HM5aLApHrALFhhSz2UGfztl5Ko9Mzhh+d07gEURjTA2tFJvLe0xjCeit3YDPTLRnnl7qt6QdyBxHQ3/c3TDlvaIkYIP8wUy/b2wkDy/i1fw6vQFzBFBsDPT+E1fugsL2LNGeHiNZ4FxBFafKLXFL+71MWROjMLYhV4g+K1oZsU14NjG7EMaf9Z9UrXmp5iowybbbCqHXYFM/AzmkcilqJ5TVG7e34rM3LH827+EWrmodCj702C7IiRVjua+mZM1rKUOuz0Kaf9O4EQj5rZ7OelhWTcZMZx59RyujnstNjIICxbHi6NNwcYe2dphhGm5WFPc3j8OL6OXY4zj5A5OAtoDcHfxQpCEo4PGteXsMum6ldUnGe/iM1jmwAu9j1bMWkfoowoRJzm1tB7vSVTx+2Emt1QmeXdsPGjTXHwU0c0oRfpKY/oatzRMIzNlcqpCTCjJueOtJsCTawCgpVyJBQ8E5nAZUhh6LNSrDeaRxKLmJwJrDpnUa3Dlh1UCH686+F+bxKS+AhKLuLcZo6pi6MTjqnmO7m5SBrmfub5WdlyGnvPhH7wGpOJQq7VriHEfK01iAXDEyTZNOG45RE1448JLX3hQnF2vhtq5BKX9jOn8t48HCIXUXGJJMPC3upwyEUEU/JFIFjRJuaH7zmhDQMriYXdd84GcKFkBn56xofQkFrKJ+Ew2Wy+5jAkJSEQcACeAYHnfsmn5gTLQHyovmk1a3eDJa13GwtdXXNBwbHb1XbyPHQ0fMq6MrFD8YUbYiBeJQWobV8C32nRHmon2jUyshMsPQ524lwtj4ONLgBjN9tlufJNcMfh0zQAazb6KWgPkl78IWIOcZVVe4M9DIE2KNVr71KeMVE9lfUJjEusksrdPIDjMbmzi6ybkekevBOQRai+ocgJ8ZV6KH6XNwb2eRsoKg/PNNSDKLzom94A86hAdotbC7SSRJ9G58zkKwrcbvBR5liXPZevEOiqDPhzjUKKJOvGwSyFzwS+B2d+liJQJva0Wr6regyYtMjqkuWvwYUmEqfFPlmC7AdaM1H3/LvOSWG1501KEtltKadUJFg7jn72A1yZDOrjrM2H8Xms71ZQV3h73KYQoyhO3462shjB9qpw6xXrSrXqVg24IAuAus9b5L44pQWOwv0+vMLB8h9/SLO2COYJqNCs5EzeE3JmJj9Q/z3zemUPIYifI2pvSgKZg7Of5zXqEvQAa/yXmLeGndXqB8yjyeF1AH9y4SBQm+p540iTNPoeRd7oWMZTFrpL8Om7Ww5h6t0/QtpLxhhapyaN/h+RZzuOnpWJhDzMEgaD7Mp5O6PnVx4Wtk59YGFpwx8ZVE2lcvGx8gYwDlQGL87AZvGePVcl+Qq2ea8MckwHlAJeio+7cCGDbJTCAQ5Rxqihe9rFSJqDp2irDDUz5u7w1N2982rY/Nc70bh7Ek7xedLobSEleudloweca27RwKaZRAdT/I+UagWXTfJk3ywRSOTpDwsZI2WUPocghY6DmSibxo+NHspjKv2dEwA2UPWEJtq9hT6kUefm/4hZqwiwXZmdF3waAF4Dt5bOeDOfgI9cfHZg5TYq79g2PX1m+XZZ1F6R5rRbWAPbHRTWxHMxSDly1xhxlvyfAjPY42m+hKQ9TVg5pT4aQkfIgzgui3cCdgKJrlDCNAH83zUfr3gdr73DWv8RD/CcC8qX0jdINopR6UT9o/soQ9bInjoIedkUFAUs+nr9tx45nv9P1F9at5hukjVBylV9qtvegZYxIi2TKUDxjSD05cwXahIJXfgBCqJQpA3DsFrB9Kw6CoZQBrrqJzZr48b3K0V5bS9GVi5yJWJidjatl7ZUx/ruhMqqaPONOTTrEnrtGoPH8HLhk8Fb3apzs0EWYTQcQ3z9Ps5a+V9gkqYGTBGcXoMzMZJtQ8k1ebcS5DclPluyshA/bd4MIyNdvNwmnIrfSS4FvIMuspHn4rMfBB+fGqZMoA43cTK0Z+/ihbTiBi+XTA6vB9XbDShm5O8yLh3jceHkMownW+tSmtG4m4PyIy6Vo63G9LiYIi/Uwz/f1h2SWk53h5HFGSNnsB9+/ljy8si7T1hsU58MczsCpxPv4Bmt3/dBoHo6MJ52W5zZdXzzPWDLcNNmPc1HgI1QoXsmKd2Qulx9WJEdqFIpizgUKUHk7gnj9RePby8Xbf7rM/8YXH1Nx+VoO/qWZUsR+EsRZJO6jZk9TfjWJTYOa5DLcsAH5O91y8oMKyChQFYaug9nZKQnATZVHfCnSSwof//JOeWoCly84FyvWrnk61gVJSqPwsznMjjfwt1OfMKmfGFKK98h8F3UgWC5lc52CtQA0QZwX2IRN/iRTmK3SOwtjE9b6SkkDqXqWDqpLZ3zNulgBfZWD99ckihLNPkU7OE7TjnXfGrxBtxV5xU3RqoKeB1UYVtgtLvQfy8lXNCGGRg/uIpYPShTOJyL990mRxMEzefUMO2ysceo/ZLREQx+0F1YiUF//Z1cCfbPs3pMFpA0a29AHSKSIYYQwW+6ViNpFEp144szFGrN/lRE141+kQlstFZtsz0h1yKm55AGoSsN73m0I8nFhoQXXqzfcYq0hPzvjQ2yP6HBiOGcl7UGdvFmaSsMe15bMsVFdeVBln6O1z4gIMxWC6k72gbetLL7kORWSvzhauGF7yWUTSSTpJLsfPQ1noTTYfLWO8id3X7cwNqbi0pFYaEa/aEA6+gVDQtR+Xqkmg5sa1RLPi5i1xH93YOg11rzUPp9S8QBmfvGc62LLd00ylqggrzoD9lWV/av0Ss2ubRY41xULqv/BCP2tEGfyVJibtKL4kW5PZYo5I5dBXcVjomiCNraSB1hjvvunbKytvI50B1P4NUE0vBEoiar67WQ5SMZ040AwljygmXaP5Msu1ODi5dBprecetdtqGXp+aVWTV7qtfusuGChsURlOfpgllLJc3dIM2kIKkqm7eOuBeb8BNwqFWo8i1wKhnQM2IxyPZk2HjAG5Bs3eIZS5JbQd3yRyLTJAsJ4ZbX3eruQis2vkeuF623o2gcb+w/mlISlIfuGS+YGWuTdOc6xLaC3CGqSoiHhJXvwZghSe2XVHijbJMny4kwe8B7qXO6nJmlM6ZsLpo410mEnVHEzvd/722ewl7tYT6i3u7L/7FVhCOD5Rv6Vfi3VSWvCvHtZfqhBEQQv8DgWgRp5T61BarT0mwX/lPhSWVupb28WdUxtr+LULwz1v+B3Px4PElILl9w17m7lFiaTAnEFteoQBUrOSeVOFgvadnXko2Wv3NLBtlOjkGZbVFiqGGs+ru+Thypu2kiQAnHB/73wYDboYHuzGoXQPdUguZsxa+XqZyZpGwu7OZCN0VkeM5DbULg5YxVutbHVnGpOnQaf7Wy1V0Yr8u+ZebJiSL/vTR13ybY8LzwcK0eKynP29nY6B1md6NNmZXeoOB+37agxj9NGJKgZ4cmihj+vRD8ckL6ZGlkKB5vt7/YRMbhpZJTVE3tfIATUqbpCYW+O4/5zJY1UQ+46mcsSMEXEdRrlt87qrrWkGyAZ+XNU1TbJSsFrrXTLmDfR/19lmpm7PJqzvtKKe1CQfpBXYw6VlHh38FJGC6pnVUT3/rm6fepGSwv8PAnZwyavXc53zGY3hjm+yPlrRpxBUhmPNoCQnPfhbsqFMT6Xo0GQpC/6lDaFhQKkbempdXBSrsN7SwsD95qOOxrDffkn/2ZhMnAAvuFBicWblrBzewcqPfUvvTa8fij5nBR/cpR64uMr9meOAdMcsydzw+0seoySjeV7z1KNay8rdhQV2iWSZSKoA2wmP8vYzSGdEMD25e/F0nD7FhkD4FEWlH6xn7rCwESuVx6UYmjbRKWav/wN5KHmCvge/ZyS5Sd7Bca+Bva0NDUbYGDSvCDrLkspGqs90c1Puk6WUglvZdJbY1lbj23qfd4KRLIFIPbdxbPUdWCtWlU0cAPlYjfEP+/xbwV1EUlWfAcCyGE37iUnntIa94SYDzpNCah+ng6XbtrRidk0oyyn+zRNUkysDch7jSMgVyuciPWqfShIDYsUZFmsuZLAjh4BckPJmuDe7JiFH8TOEQ7i3s7iA8Yj1m5Jjp/s3Fa+z+UMJ2F+usX0umP0TVX/lC9zll6tbaJzRoghawSCovYoqQhUrIcCpq4X593Tol/yvgbVH7CcrpOzJqA6b3OeOfmUcD1Dmjsb99TlbsTtIPXbOQ3054dsEMCLmP8xLhisNdtrMz17FYBC65G2FL8ZhqRap7i7E7dbsudl+3wcwltKAdW++eJTagNcR5XZfSd/MxF97KvBZyQxnBwB/cgLUAYovowuxy4AtEiv13K0QHJBhsdgHgYARNryvMopV0iti0zu/E4GacQESZ5RB3qi3KOjXQV2GmQ1HdvXyj1fh57+n4sZlFrOr2c7B4rZj0jPlUcaR6QbFQaY3ppgGwL9KIO61MbiO7qCanuOAyshSk0y+dvGMQ4rtpbTYxV0mPuv0i+jsnAUWuxK8tlTlFvO2KEkbpiAlmTAApP1t8XSEaWgIkxz0EU8d9bmZhA+ZWAN4UjoKzE9NgOfL9JbvYFz6r4+0rf5iO2XqeX+S0manaJ6gWahqLZRZ4+Pnxxex1Op0g9LVf6FTdbiwRyPQR8zZrt+zkKGpdrnAGXiN1HBzPVTugO66JbRzpv1QkBVXe+b7MXv5oK2xZCyotG66e7wtF2TcQnbJl3t553cYxisfuIjOZfQJWJtGM95rj7lFtZ1H+IWPJiSFUPMI5r9K/DANhqWj5kpN9Cb/5s6/1G1v8whXUjLFDJS+mJAIVUn/jlSsISbyjXqP5vugh37/S5n0bMwBBH8N0fo2ldbXiY9cpkoAsih2lkojMJ5+oGMBh566Xsv47zjl8KfF1B0hfJpnqWZuejUPYVWxO+1lY3bY6x7zSQ4f2FFNTP/CQSnbVyEJJjSqiqeIeLJAojXxK//z0pu42r7V1WZpJDc05v4UiacaC82CJj0Y+O2F69FlLnjWEYF4vuan5PAl7Mpx32w9XwSLj7aBTOhlbQqYuNWWlQgXd3tyNbyyu0yexXnDWDsg091DP3CQasYhZQKi7qap1N9Z5NKgSNHSqW0irSjcDpU6zQlSAaiISA7WB7VZj7TgoMOYdga8vbZZ5yJT3BAWaUBiNK7UICxm6AswEZpFTGmOisNZ1HqZkFb5emFSFKKDaUPQ6worPnuhXOo69nXagfChaZo/FvLfQCOScud4l7HR+xa+7hgcOENeDDeRZ4Ah81fmTT7JD7iauY1uBdH80feGRaGwzmyqconiZqWVJIANg89MorMflPMvlneUmsrE4kR7MCO6Iay2Ur8RUn1JbP1cco5YgAPWg5XG0paWPiyoXmh2W5zCQAtyaQrSibMALGBe8kd+YrvHjP9tcMm1TzVBABb5EyCrg9sZfRz9hx9xVeTKhTagat3E+DIxcLpBEyf18p3uQU3uoW1X8sIkMbp7StXrXWkw6I8JL24r2d2k+4zVWYXtOuF7NY/zxhkEXFFrGA3417Ylr0AEtMa/0ka36mjy2ZxNfr2bzQrsBvbgmdrPPNIHjqMHUn9fQhQtUDv3Q/lmLnDcRPDUMz6TS+Yd9BDAP2yI22P0XPfmZJO4Zx1JVZKeUo8cGQ1hSoWJRJleRUC5Sidco0TLoGSDGpGE+ymTiOLo/Ic9ucByiDgVt5n+I9I2+MNPIMjMyt7Gzq94lA4ZhV/UK+GYaxAn6fHOq9ssnEKaHmyje2moYIE8QEBphpVz18RtohKx1gVaxVMHeljwGMTiN7cO5zq1fzi1MlLzAtp+jtFTOYL9n9neEWGLnYvwbV0MPMZMdSVPjFxQZyXQXaOKv3dNTjVGNFJcOGJhuqt/KTYclIwg9GmecubfEcpN8c/3imUhuSUAsDoizc2+KNEZHa9vWfVrZBVTwDPIxjwA3MXWi15sxFJxsDr/pH7a0KQECFai4cskzk2p92kz3/h+qlVMkQxmWDHMAZk9/nuT11O6ENwEjxPX/GVbl+WE7NhJPFdHRrw9UpHIXKmU+LnnSGbXYeYyvvcMZd9m5k5yNbNLPq497pmWH8eEftUdZsybILyGZUA8UQO60lvgnb8b2pFHrg9maUReBepyRe5RwZYbz3sL+IAa2Y0FVFqWlAAu4b7SthaAEuYCHlTpNV22s3MxEJhtYMVSgCnfe1kOQuTrD25TPvJ6yUT0g1mluZGfI4psClGrgYQYXMC4jVtfQf1VGF3RHdD4tNmJhdsr9x0ILE5ZXDtGD5xkTgfzwPhp7X+YtAgk91am5Uh6AyHT8W/O5sFQE3/AblJfLbUWl/8LcIPY59+nTkeXBQ0y067Q0LKSA0roaQhqjPYm7kBtZiavGGpAYt4iY4zvzOc6uysgLt+uwpFmnZJQElOU5vsBOC/Uiub+j1T4EXTpc5R4voMX1WnVIwpgrD972hu0JYlPv9YfmBuWklrq4W29YbcRD2zq+B8Q3EreSJuJxBKLBxlpmi3OTA9+9FDW5DZ6EOKySWX+878rTvvTeHuzg3wc+sVgKjTCyHyu2bBnBZMLZL0rRDky5T34KBZo//dHDFfRHkpzzROb4OB1tvqMKhi7QHo75GqGMakICpJbTwQ4Mb5wMH4YAv7Lo12joWbmJNEKLC0sDw366mBO40LxOaZyg6KQNgxobEFOzDy/Hh1Ju7ZvvxCRueoOGtA3ro1jcuNtmxkgdOxR038bjv22OWNXPK0DuZCs2ZUQea/IZzNSkEtHuPxr3e9FoRmerTpbkS1yWR88tQGxZHVzRAx2KRxnTR/v7kgmCxmzh1jGEeGgD5w7ZiDLzkF/dvwYN6N8X5OpSEb5cT51CwtoduwMD7/ip20WB/4FNBevl0oo4eVj6SpXJkDjmm5a8Ro0UESmZatMyVSigGtaQh6V7RYTgLvIwiICEfetfjSKWoh9m+MQ0cG5JPMAA/Mj5nMxoe2+vE/pvyzYWO1PearNjx2JMsvT6+Ap0EdiwtFaXKKn/aM4eCY+Z2p6FBxtYKu51zfmik90+F6acm6yqhA9oaD9rEt+TPqqabZC0XLFulVVDijSLE/iwpgCC3uHgAKKs4DdL3M/FJfSDScU+R0G2QqycOaYHQATIoi5ncgfHFMP5JJaPx3loTWYhaaGxLmj0W6sPUM0E1dRbRcvnLe5pTPm/jOYInvnDBEKLuNe5wxBhw2+/Lm1fVJjlrboxIFOFCZ3G41HlYaaKLUIEJawmCwT3w7Q57bPfoF0eoREqZPXBHqW3KKjUm3hRlJ3dd5aVVFdFnFE3KgdE3mvBH141GCjLQyAvp81pCALFdG5BVRFCn6DJHnB39a9kvlP2CVIs7LmU4od8/w6yPupIHfDoKZ8y1+kFoYUiU8C6sHPrIooJxYKDineY42ozWHT0JEeFTGiEDK10k79lXKEP9/QBp6qjg2EfvCVXAW+FQkQeMdLlqOrOPZPTBmOj9cFwPIkgLwj968fhWfIFOvt04Ok4Z6iEmjaWEPaMoRk7UhQdTfj8rfVSZPiRkOR7ZVAp30C8gWqm1IOAnYtcFh1FCzqcbyJLmTcgS0mQjVpQaMeNI+viHKKc3lPpnud8MmRVtgy2Y/YRytY/dvII2xi6SRXv++PpIgIhQV4beoOYx1lj+yaZ6cIn5ueMNPB685aO/jlg5vtI9ie5xH2ilvmvLdJhbAV8Y2k/SHHKn8m1jsDRvLQimPblyLMyalDz7Gfig2wCFJuhPJrGNDOT+h6S8R9X1hw4xcvbAG9iIFX3+MduPnG6O4oYg6i310qOviE5QksPV3MRjluW7m9qs/LXhkCWvmfYP5fQYtUMESTd54jpWLghkrkuzJgi/blDTeoyH01m11uxiSuwuNcm6+aao8q9/lsW6i1of18JuoBifbpbCGoyTEZdoZbSAvvS8dErgW+IvXYRZrt/UxAevKFrK5Uf0WSUeYD2aZ9Ppr7M/NRjrt6cmBKqfRtdwzGEzox47zmUfXWQ+GbXmXhbIcCHHbx84EOSgHdp7GtlPPt6Em5HsmxqReogrGw6xsxBAlfl+OtrD2AfXus7+0CpV1K+xFPv3lRVze9L+fJK+hkrPUwi8DnG/nPZ1l41RLJpOszRm6KBM1IOz692nTdC0vbnA7zFcMnuzcT3jeF2ctF9LvSURaO0iZ395uEPxtIrIZrrse3pUcK8dsGBmfy7IubkZXkJN4phKRdonbYE5L4KFJ9DD/+1KS7ACe1LAH3NkD2MnxGOo/BbPVCtzigtK3LbCa+2Iu0dvYYYRKpbZSJ/btIAC3geR8VXbSgEZG6cpfWRJfP6mBqbAVAh6jVZQoYQ7C2PZUtPN9iTpYEHFRipKF5zr6uDwH4xBbXtoSL691bdbvSZZwnPHNwmlP/PVhbaOAwboCrQQrqg2V66VI5aj03t+oYOcBpBGq03+adqYlqgLEeM2sSXKPsnK0hAiBtZZwYrq+N3s0GD4WvE+2gafhNJ5ZiOHo3cnvbx90IWyg7fXsXgXgEww0pIxWL8i1SUtWWTnVHVAUZOFF3CP1uzMSfiaAWw2OhmeBohSmQFi/uv/bzcIkmOua9qgjdjkT9ttzGox2uVBNmagHMxCUhGHzpr/aiS03aQcy6CY3SYJVm8BStlwDeULPBue1Tz6L2v0DaLtlozlBhXqLq2KPuxexUKpOoDIYDvFKlYDQR45zB72M/xojRO3zh74tFHdA6Wji8y4gLZotjbqLRx6l6E0QTm9jAYiPC0/I1kw9JAhXrrpQQyEpwWUxXJ3e64xOtWCJVJHEAFfcztJBam67+1LDNopaZYVjtZ0JEc3SrtZTAlLBGRqcPmac4L/IYT13eLnpinUoMlg+n3ag1JlUUR8i/IX3a020FblglLbarnMOoVOsxaLj8CBMAJnNsDslQ+aAsPlO8id5fpUSeWATXd6xnB7QGENVwEto+LbOAvrsLLxEvPWzJjou2xOTahbeqaH3IredbJkTMA7KnF1U/A4gSu91f4c8nf44rya3cYiI9FMAIBqUPkVeE53N9H5OOqcJ4kpjYJ+U5mBe0xxz49Za8Ju8swuEelo7MUwDgYq3a/wl+r9p5FYHZWAIYePZ+VFT2B9kjm9j3DX04p/Yrvs1bkXyw28MQCDWIoo3Cfwkc/AGGdV5EfJv+6HAmrS3Ph6oFXvIvFI7yIUs4K76mxrtTvpAIy5rtdZtJnT+l5RJDlxKx9ks2QPp7Vix9F1HE/4zj6SDC9BGCu9AjjNpOMo3UUg2uYaDFLc/YluHPsUGcj00jSl+l4X8MLZfyzm3JyVuOGYHBEmQj2v53u9TBqoeffWU+1z+uI9atOQj1cPSI5apT3JyGT9A3JJhCAgC9zvfOVaU2GCqo+Y88UxgoJp7WojrZWjBTaUp4sVRwlSsVnHVJSJdE4EOH2vXQRUad7yn/NX60BicpKXacsMCg7LXPKiWfVgw0Y/LDEzSEa8G4mgv03RX1BCqTe52flDSk1VyJZhVRFOwljrWmRTfhUxpKo3lMx9+LmZcpEXDnHS03EOUZM3KYL5mSb26xgdnDGJ2/tWBjt5frrmlrFRZvAynddtx+qj4J53Cd3LI5tiFcTUDbHD5OhznxO7zZuvoJg7zUcXBJbJhL+3DSdwt+994cmq6eo434AVboO/ZQZukayz+4fPBidsEdZGdBtnU0EXNAlwDyFq/6rD3XPPHF4gg1ZgPKZ40LFOuxVKSnXD0qvC8RAGM830aogoX+BrWZr5R9o7Mtqca+gSOccE0qg6oeDMlX11ICRtXDNfj/a3V3KhcF/SHKt6VvkmuMsfHSo15IYjQJftzlbArH5WmR8+Q3QGen1FHFgjghswgzR9QFRcenYprJaYUqweEHGyHidz8dLlZ1jze5GlnlqClguQ92dHapTGJnT4S9BEJ2vqJYz7euv27DDoW7iPi9yJWm2+/w9/EtvK6RTr2av2NsKbJOCvaqdlGsvgYyf6L3H0MofJlB3oOEoKiuZMycW5J5lDsYuQnbVYZqSrsjPN+PF01AHtQ80M11vNw/OO2h1b3Ox5AmmG41EpLdQhDVFJC3hV9lDlHSZxsx3cOaw2NV52pB+Vz9KL83FXgqgVr9lN773PnhK0KL9Dc1jL4wgol7YuaGzpMORb6yvKLLEPzRkz2/9OzW/SX+HXxUdpaCH4uinfDGp8i4i8MsM5S++BeqNkSqoyp8qCM2d6Z1t3SGE434FbWcBw5uuzYVIicWrBcAhElaAU8FW7tymzGbNXg4g2T7bhX4q2Z7ChrRvpprgWuJDMDrSAFCso87iVU9ulEHOck17r3shN94qIaO6y40v9zFxP2a5VflwIUj+MVDndNauKI6kMtvt5tWcc37UZB/ZG9VaeQDdWTfLrw6G93hbV5MQyjOhyY5CaMWSmBmu0YtlmTSwF6yqEfusMWsJKaQ9BauOfmE0Tep2mqOG3oqViWF8KuyIZ7ORXDoDCGCwP+dMXE+2fAqeEWWpyYjXZPv+FjIMCcFiRKclWn5abYM5Vsy0oNS+rCpgPAUstCQ3CNp5+otT53ErM/M3JmEJL83JfRk8V3f77+8+/C0V5JIVACkhikAzf/nSu2rU3jMpRBJnLS1P49eC/0duTth4nX4Au1dpH0vrwFcG2TLReL09z2GPIZFd6N/K28IBaT7e2km82cTCmkhQwA80harxNhYFk87Obd+2cZ8JXMDsQibAR/8Q8urthdCjftuEa9HFPS7BVaZamgo3RhtydhVrJat/1IDXXS6joSKJD1pPyRZzZ0zUWSvBRu3PZWf2JblzKtZh5g1QM5X4gM6MQZ97hRrdYaUlkUNJCyWjyJZ5ZnLxKWcjmDYmVVaFAL6PfR4pY2uBw/UDTaR/hm7fzXp0jHuCwkLmhq75QqNH18Yo0iTqJxaQ5bkXlhRIapuJmzJ4mjL4D6o6B7jz6Ng1d2XN80UXfFp+BF4lwedhBZ9bhknAgwJeuaZRjkfgLoLmGYo4HHTHZiqODEzv4SKkonoTGWuKX0xuQI3iaxJjep4C8uxZ7GaV3R1N4SfqpKLj5DqdEdt/2AALeslKaji3+RFKOg2SZPMtR17qdOu3amNOFjYZzpkJNTyCScvMMIeyGucH/q50CAImzE184tx4EDccnvtxUkmsg13ayqTqbIWkMXE0rnrnwfjY7m2Wme0KtiX1VCZu/VbpbXWj5LnjlPjaPMzJlFkwQdN+LSMGRMrtNE6Y8zJsAeiqvkJ88VVkJ6rIJMl7ZneCSPQSGMQJ90q4OXmHaB4QrKRVGUWQvO867LisHtHJh6iuO1G2JmdUEOQM2S5+9uvCDQTxZKE5yctIzhzjtUJXIq4ncYLQ71VTtA5IV0eLKyUr8AKlnB4k2q9PhV7bTZ4C3hhVuoJ4IwkHhUwkaE/bALiH8kCDEePyFIJ2gBBfupG7Od1pdgxiH0PWuu9GAzOqHAAufqJNAfAIaNiWdBDnx23FH0J8ycE+Tn7+s0+affhjbJW4nAQvEQnoqn2YBm48TQL/8gR+k2WOJScUjYegfchQxb+L/5GfNwcyrqezReXg/SHRpzMe+jV5P6MusC1YMGGlAE+vDMH5JtnKJ3ziY1Oyb3E04ntoGQ2hsiFL/QL3DnQGUFvXxS6dRzU/9nDCG8Fkrl446Gk2hi6XG3UJnFVjorV0M9vIga3JdeW3seHKYDmIZJiuI3vxruQaiRRkx0pBC8x7oDFq9zxiqiyaW+SJ8+08gTylo7vC/R6l+jZIcKPM8yRZjTIjDG0Y2L5OsecY+4LoqvRyq6Z0kd2vKHLJx65u5vSC+wjt3SygXW5IzRHjBN4PXClEjQrDh7LTjDpj7/FEn+hq7gINX151p4RsNpR1vw3yExw85Pq06wk0rPX6bdSBXjZ/QtA3mFGYLi4QGlLDSogkQa0xtXypazgLaQzjrcRMK8UpdhgIClF+txrez0T/KlBbTMhvIS9Tx0AqjxE5/fa0FhfY99Sbnv2jUouZtljGo/xzMKye3/YmTEZ0H+sn9d23cpP0YbYDtyiR+Zaqyh8yXXac6AsLT8gReVDK1U1hq7DcU6GszzRNP9o/2UpcsFpdMu44jgpAwFMWcr18VBmzti2rME3MUtHhrR/CwSoTkr9uZY6u+di3ebF85vm3sW8GMh7ScDJdI5YZBJbBC3W14CGT1ZDZDvZhDK0FcttX6wXcObFjdGastFCFfa6sK8LjkMLS2fUmyeZ+ziriisyJys6cRJcSVoDkvQTe+fSvpzJascp2VhRLDj2d5JMb8rdNrr5bh8WPXMAPO0vGYDefiO2PjS3whdvZwKlNUzD8ISOCMStHuKnF0VisNTr1lM0MTcRZCJW6NUkB2XZZprKGZ6Abn/xNPFE1d79SyIVmvlwU5M4hRvOcIhXzGT2Lh96yVIMkj11Zl2vqJ8FGXiNidR/xsiWTrGiC5Ho7+4jTGT80ZQaeK2V85B4OHH4Xjl7nXlclBJ7I9eKoW5W5VWqjC0/xJfcEv8j2+xwUtm8kWPO7falsTJYKpq/trn/sovEYaToy52rTOOR6/T5mx28kJBYV1kK1EQL67i0zFtf9EclBUfr0Vd04pYs0yPB9wPBbQz1cDcRWaik6xYYUk7fyBY/FZdys0ikepLHxUv7aKDbSujYtUahN9smydxJHNhZ/u+HbIJmoHi8nOnYO8EGCyFmECEf0NaoEDGA/Sk1zZ7pomndFc61/LAuhOfMLxGsH2ofnznsh2PZ39Ei5TXJ56eSr90kmkVPdMILeD0m448M7ed+H6tcB69CVJuNgXPclwlFeE9eeOcVZ5eKZgnOqBWUqp8VeHqg10B5QSPLECnRanIe6Vy4C7nfsfGy0B4q6+WNhQOhAG6lJ6759mIPkVmZNcwnIXrqLtc6Q/DQKcyXRyxTCH8gZLDYpQSAjh7NA6VwtJZt8nRpxqJNAIvH4jfRw8raxgTwibhz0bxWAGbzxlFRHo7uCkVhEdh1LQ52KDZdqqJuqipjwx5x2zKpou2g4xrJZA6lFOo+f0EmmWU3f2Uv5s/L8VExv9Ib2f7itMn6qh5UH3QAmjExuN+CLpdknkGeLVY9rhWfH2fPl+BORlhlRgcO5CVPnj9Cts4xqFju2rJU/WS0Okl10Ll2Zvfpb3pLMHUe+GmWRSEg6qIJ6hDEIx92vRSgwtmJ5XjUHqgDUtoh/Q8yD+xGrDQf9zw1YGxh3+4z9obEft0EQz1/NO+ZBsLuxdzvLIKykUchY34ulmPtSVe8o0xU60j9mC3SW/5MSxhJ6Bgi/gJDLOwxWtnrglIkADr1NGEP36vnCxiwP1Mxb69niUqLhjPvQarZ1AGd1/gW+TQWtxxqByjhRRP/0A4bEpam+EzdUepjQQ5WwE0S54NUcOqLpc/Xumvjz/E/QQZGCuw0IE0kypy7e0+aYyMw0fms/6zQRnTZVO0uKUn/wRAnkgzB4r4JhvBVG1K5fi0hRx//wA1FLix0IpaY/UeMBZHnmapxcGjU4HFfS18cxmwiBKRzR+6DzOJMoZVrWvS4v1YsIzxGCrWYRuuy1rjsuLOZprTtPSUs3MRqGT5bT+Q2oljQ2M47ekH2AwOCmuFr1CVLBtzV5GXaCVL0BfK+Lr4B0Sb9F6FAd09N9dFuLxBL3Fb+yMACCnj9Wn0OJZFS5P/HOy3SKC8XUo1pTNJeFVSVh5IK2P3xW1dNsmME9h4iX5G18jW3THascjRz7F6pkMAQagEvhEW2+OV+WxJ5SR3SvpnYI45S8E6gSVMx6KlBW1+armObNKBJgcgP6WQpwXjASEImJJh2P61kSI/wKiR3Wz3Dy7pNX7cfmiiXu/s/KBt1+ZN93GLiWeYdO13Bt6/0HpBEt7YDphj50BaKpYwzBlx4MCUdqyMvqCVBcZsHosYpj6hzzndpKkOrKjW/yYoxBWTRg7G1lcN0dqH1b6kD6LnN+XvkuieYT61BrIu5o04yyDbssx8OkHakA3PkG81DfZs68YrZKgr+V0jaPhc0f6JZeqOPDvvTUTO6940H9pcIF4qlqTqgGxfECwk+HYQl5LslFJbYa20RTNqtspQDqYMSnOOcOKU4uY2qV9kWQHp5SEgvlJ7s2/H8G9ld2RkAt427KFrz42fvmG9gQTCK+Eq49LSXLP4jPEgK1rMuoXaResrLx35BiDcgq82O9m4vNGSdkRV1AWmJiFWDbRqSrdPrvNcTf2rCPKhyEb7xuYwEEWsINzVimVoXDWA4ggvG/HhX9T5zxvU9r0zxayxCPXDKqEUvxYQv4Fs7iZazp/fibGIMZdvnmkRTMO6Fha2bMP9bpGssEFAeDQ+lVkrzxZt5IlkdZdl6OmMN1NeF18kZpbycUh/m/Sai/0QcATE9ldpMHJvSarrv3A8usec48w5kQdodv0NAjoViQmBSt48NHda2ZqJEkqtar75a31B74VgP8EFQZkc0QEwninz9mO8vZvrsSkaMV3SS+QILihPTFG/TGqsDqS3whNp62b+gUlbaNmzoIPF5B9ZxgCUkgSv5RsgfESPP90mFvVhXpZSwZVhnuQ/lOIQ6OmjUt5fE9jxAdchZhc9uGUSfwjJHj9xupbzn2l1il06QnQeqol1Om3SxnyFklYWur0v8WrZUTs6qHIr62tM67GaskWZq9IU1QHgBrHxZzZhZDPAFtFlrBBfy3noD8QYpHSskZc02aBfuF4ZuGxAKn0bMphC6PlaTiiD7dIdnAhD4YMJdqiyyCjipvbc6iGatp6+fKXaKsBi3NGkB7hWDGzTNaDhQoyno2BNxMr1ixrsEUrTVEEOjXa5+k5vpVENIVz5oa8cfTaBgvh4nKJ1+TmngLKGPjqlnSjcmxsCt2y+vGKKovTJu322bykarpr3XtHDKlXVt8m7axuQWiR4U67mMAafv7qWsDMN7NGPuPvgLivBjhz3qUEG/C+drJg+zSK6sdiOvgoHGYVz7yR731Mt8JhAwvdKX/PhsiOzBMYuPoWS+qNRqHMgyAldQBPAB9IOm81ka6FooCI8xnkOcx9yw/POvv+Dct1bhbRRAcwh3BKHdNqHV8aB8XAa0viBjpxTdKqIkH/yv+Edd++oXJ8+Phf2QYGD34133kB17g5Jv0UuJFBXO8dv7i+kv1S3P0Cv0ZCF33qDqjV2lnoF8cnVTv0SlEichLAp2+Lwg8wlFV+P7HhAWAbn/AuCj+SSlq4QJy04FWWNBXSvsD/9zQvx5vKKzlzews9aUDPtZ7L4gl9lrkX0LiXlcIDW94OdhAyVIBptcJvX7vnU2qXVD96/7SeL9KBSEAfDu6dJz5hni8imQ6jfbC50dgB4KKJDUWVZkPb31/8ws8zjqdNJs+SjIn7OQd3NoX6W4ZU+WJ/3N2WGB1rrnNy2uMlqQBKXleq2A0rgMrTeeYP4MysMByM8frawY+wIBzu8CLfh8BSgCXPOT60Vv0ZigH0C/ZZgQyaEhBBpXLgoapN2sjTEpYrrAB8TMusHryFcItrPqEx8pbNHUVz04kiK71oxx5cNZKc8Rl5DgDLXgIGQX7sMyoZez7DGgObJjj2KzHF3P1YCK4r+s7CRP/AE5YIrAd+vskWKOZ0VXmoY6n8T26We6aejEvBS02DKucksr1FQbYxC+MZiQZtZ/OtxXHj9n15HoJxh1W1YwDwIm7m9kMvW0FNSpKyOOyOXZebukEWw6SKmwZehRx0v8VhkiZovpWW/6msa6wXTvA7/5Dn2ZLjpT/dZl/VYurCRDGzb6H+z2dPIgJhnW98aOAyYSAfTuSlbSW4IU/cYqdTk/EfHRFxE264pPDijSdvKh3j9WGxf5FFzXREcBKSf0p/83e5RpmVIh1miTtKTGNzKc8xyVv5QGmw0U3Oz9fW2SICI/if+uCUd5xi89pVcCp5EL7Elds0H/HbY2O4FcNn/JiYy80/WP9KzaYpimG0hZ27vPF6YOtMq0N5I9DOMKrrXZXlITOS8ZVWyj0XAIruOLb9JLvQSnHNzkytYzjj+YAmsC/udFO+F+kcS5cIBifr+fKEy3OhaCAnenSPQPc5AByDZtEOs2CzIlmfjnh5CPavsrT0zg8D7DOw3Fz1frx+IVuVSBN8ZyyvYLrW1kLExk1wGac0ZSjc7u1NEZr/50+aKQsZgyBqZNlH62Xx81RvIC3iLcLnm9oeHqX8Zs+8B9AkqXPum+kwV7l3qPzQjY/OqLAOA5K5zIQyg1V75Df5ByL8q3QtkySHaw9cIhP9R3Ie5drvFuXK5WCw3ZrIcTLohpzSAV4aR3xQRN0DRqxjsMukKLyKfV7h+ALutiYCc5bZv/yyJBqykHAiq9dckcXbSY9GzjiMIbUyYcfm6rpjwjt+pCFnyRclNAxFzSP6bmIfjisrzqx+qBFqIOE39R4P7tfsU+kHtR9dZ/qvXEr+yJbLxqJD0TyMahmI9Jz/q8MUmlZVcG4AinhUclUyTnXXBalRojQu3sqRHfVe/EuAwPNtqqv0olY+QpaWxqne6gIMrexWkJRknt/jFQOc1P9AVhajWGodCATbxutZVIOJ9AgSLKQifLcI8dyY/44meEoKMpNv4i7bymTsF1oaJQOgi2/bkJ4CyTieQYiTony16PoDiXyMPDJ3CZdM0kdrwbY4m6ISwD6xC42GrsBPSpKdWL3ZIdgO+muLdD7gQJvg1uEJhPSTeKYVPTgs94kC+oTm1brqLm111nSXDu/hp8WvjqxzaHVBOviOiefmwbL7tGaPxf9NutSUmckFMbHqH/08wizy88z0EXCynwJvMc20JNs2DtAOQyigLLBS/VAJH316DlSwdJEMWxALLWpGp9zURDn5cVitri1R3jIAIwEIXF5Tvwe7s4y0kGNgzaYTdAZ3e7a6P8OdHX4b7ZsS6/p4QPOeECy/g0fKnNTlvkcdk4Zz+VN/aQCOA+buk0msgj2viQtanyXQ2sCLDsrj7G3qKt3ixHvCF0iXPw1wUq31oLi0GOgfijxucBZHT11+28ELk3HNCga3m/AlA9LZ5E6GFjBE/0MdXdjazhCQrzLybQP3T+9JxW5cwQKMKGOOvr/zYePo2xwdJU9hB6n/uOYPnLF9KysCZcrh9ufil8Xa1PlqPorhEJbSf38TrTTuIwC1DP0Z8eYhdEK88v14xZo1yLiRGz5rqpZnDepJRjIuHmlUWkjto4SH4I+0fsOsIY6xllf2oJrsylYk2vjvcIXwRxWxbOCt7IvFh5zFGSZMVOzWeSJQhaSM577EPSaFdgQNMs3vWqMqb1pJxOQ/RoMaUZwZjw7xi7URgOnr9cjm+MUytMaVRKbMAVYjMf3QmICCzEIDIpWhch3ruRV8yi0LfvJ6VZZRkJP0AzPg7lpn6naq6pTf8P6L7ioLUt8u6nEwlx5Uq0Vq0V7Gsm8RZCm/l5VSKwZtSApomUIqdVYQMw8pld6v/2fnkHDa4Z2usS8wXNssOJxMbyy1M3MaAb6RSJXws/DmpIvKqndPdmTOV+DIjRP2o1iGfTZuSAAIWOrdi9QgB97hcAZXMQ3A7QQ9odP+iqFNVMWbispvjFFzoMT2516a0plF/cZKmoJV2zVGxJYg910Rks5EPsbmuHhNIUGolrQt+zp7nS37fyrpCcgTH3Ckl++LNCkkdto6oKiFLYcjznngOrGhsVQba8UuR7cQq9xjp+4CegOdSYwxWe4iaGjqzl2aB2i66Ch1BeqmcSGHouomhfAp6l9nCNaakBNIRP7+glA+QUkm4J3cw/zmBoFx3OaGKlbJFvbChoMPSPX9+JImv3qPYpi1+sz1Gu9RzpmbJoahozOCUQ+rVvTpcpbI7zJYDU1/SHGeoXX27Cnn2xRSdcTH2bcx8HcLm5uEgFpINRrbhPawjtmTSwEkUO+Sds7CdRY27u0crXPJUmXVzUCuhebGJ+Dk7laHSNZpK/GXO1HPfTtcfoYzGmkHq2P99ZQvB4Bcpsqp/TJRpimlzjofgCieDH8gSogxFKtsQXaQ9QRKyaTKlIH1Aj1yol9+aT7zQeNSLFp802edTJ98PmYx/vg+bGxlMdBQu8guGUf2JgLMUkVQz5Vvp99zeACvmPphbv25mLVBo94fQJ14qSRrLCI+9Q4pA263LVAluOgwwNcR52rRfnDQD6JzRPpJ84ztCeTeor/XoM+FgRVB8d3fTI7c2gFB2pIa+2muRYDdQeHcTFRvoTq7elJcSWWWUWwmECLg0oVoCBkm23ChVuJY9PpZZllvMgPcnI4gOPTH1Q+vQLjnRQJYTBGN/E9VhH1E707KAr7Owa+8WWEj6h0nZt1ih/0qvxgO8q635ANj9SFPqlJDZCVRJNb9pyA8nAQViKZZuB5WQt6WcZ0haObCHhnpe55IbgDKki7Uar7C5wUMjnogNnKfxZ5ZPVJMj7pB0fh6Eig8KZRmnzpdPxKsr5arUbvrHyf1aCIwviWn4XVj9gVycasxastdh7r4biJm6UXg36yAcoP2diOcoyw3js4ou1UjU/mKzL+1AsdUcDa9p0ll2GkTlh1eVOSqmB9FAt2iYelPQqhIJn77CezBkfqyodAVTwCKiTyzaHg/2Z7Yhpi1M8El4kvrmJ50GjzA0/9RIch/p6olbjeq8g6lgxd+MdlftRp5IZQNGIi9AaEnuWZ3YjWJxKz+nj82vicuffdHW7RkCMCr6g9FyOCEyWp2MkQr4faayF94LXqeCGfkGbKnmlC4vuBW9F8kKo4YnghOI+XqvMFSFxo45p0ZL0MlEUn+AZbgKq0Zq1gjdjz3zA9L2+PBPwlB0CsWeDOPe0jJrhtQTtOWPYpZvEfR0LpCcYjHIY4TxEECuPtpCTS9jI47vaMEQGuh+Et1vlFrQp8+bUODVLkeglE2dpeR+h6ZWjibvf9SsXqW5UHWZbyw9XDfms6IjbGt/p3n6zVu+pQ7dbn+6Dwpj9oW/OPv1YsJJH1f/g45qKFRMEkvmSU2xKcLmUmUVv52Dlq3Y/QJpZWcOvdjV2Pn9V0j8XmsXr2WPu1LBTMI3oPvxosw4GpwCgKUdyW6DbxADaxQo8N9JSQVPIARwLfUM1hSyBQwrWubTWLlzPltECuDc1T7IUCYruI5ctqC6F/1VdkaVFStdbFUXnu/7B8G/X1v46Jsr89l2XIljG24ybBeitWLWVWH8IDojHKXf680m8VUhN4L3KnhoV1LJ4cs/2oDG8gkp+jS1oG1oSEcxaF8qkAW/NANE4N/Dt8HFQfE67e+K7qlvWfZ32XsPWRja0gHUAZouxIQH/Ofi/L3HUthwUO+m5F4El/3hCHf9CkqGjnHrJKXFz5yNoZYjZ9oHgkEgRcZR4Ir0ItN0r/sVjI3rWvIPLr9TuJx+MoceXJyXcJrTXbKZT9euLTAQmzB6x9aQh5JKy6U9W134C3YcUvk98DiWx815rS02foyD9VBPgEAun8ewap1INAVCeyj9bt+bpc+KIPoY1lQ/KwtDZoeAcPxAJtBrExtzQ/YxTPefm/dwLM6DigiMhDic2xGeyto+IJmg4eZxTwmqv6ytxCjSkuWwWTlwukb85IysxRaWUDVR8tJZA86rPPN0NqZf8O1xjfm90uEZarjaWbdVxcGhI/vG2EIfw31WQxvww+VyWSzoxvVoU9Ed4H6MndAf8PkZnflzohiO7TJEYwJwfHhkuk8PxmDLOrWBh1MtynfRsKFdYLuQJ1SZQi1mNpaNfDqGp14QNoJWz2rpPla0wCJ8yuZiHhxyHJd7yI72B8eX72pp4yhn84/zilmFUusguCdnhrT9Qozng6NWSb7DwgFdLMlf0CCFC0KKZyVwj2hBUVAVJNAgPMMjxKOmNYb5m+EOvNYJrWMe49nJcMto7uEdNWg1CcNaAXCk5Pg+BjYrFjhwIJeXvctxydfjKcXCohJCVlLarDnJXFQzhFm1ShoZATGxhCpJ/Mgv7+ZLg4BwRVwp99wp2nMrzwbogeWK3Ws+vQcMCv4MrjOa2SBVBsxVLITcErsVVIJmonCITWN3FZKge8rqGdmIcKufA1ceQPjtWFNGTIVazvk4OlsOBmpV1izYXWkNwnV3YnVS6CusmJQ59oiPrIqtYcDGCOK/P6a2NxxSuOSlRJuVjKps8sA2jEe/hQPLeNPvkA2/0gLrl4CxIpyDnHjAP3NgM8WL59pVL6lKwiH4WTCtEO5Kt9rjrO0EwSB/VdWO5CqingNpNtDnynkps3y3tsuZ6OjUTnBf3cGKd086Vaw0hEgfG235UnWzHQKnQAdJsFLVfIEPt6uaeS7sVvKcpX4CHXxtHV7PCyG/q0mpQ9RCUaNZXcgys9a/BB1ZUF8NCU7PimcPDWn8tQOmImPFNLXfg4ertOiKlnicTu3PLkXwCQsGhgm0JIF+DgAVgKNl/ay+dH1b3uzZy7zwFHTz77AlGb+zeHCg5w0DAJJKAYDblWw87+lMGJcGNfXdy/lW2DGnBYKZFRij2flSnjNpz3yHA5NKYxiN+V0oiqQxaSsgZS7DiNZpQHCorZLpXXCJQvPPBjvvyY6QIzfuIs0yzkcBsqFPiAiXoshJSy41tOjyPRsslZcNIqq3UDAfGxssKkod1p6apwZd9KYA72CO5DwiGbFsFQlPmDgEsClkC+otyIh1ewP7BVCt2xqneyfFHv21KrKavGxAJOPaOzNCKM3Lcp8s5wsq/2JDbu+ykjVVFmDm3+u8HCgnjzEMX/ILXRK4BpnV2qlP9wyD2yjtCOpdjqdS40O9ZsGYPydmolN3VzmKvxCisKH/mSgP4tQhn5maLc53OPRTpugBXyQXWZcv4xu6SUzCaqOHbmLpC+5mWdqA4RXBoWuqTLUSXxps7x9KsdbVxDPIUEYZZNMlISKbSiZCHn2wTVVEOAs/PaAYZ0/ZtBq3qDzf105At3ybvam3YYIGOEnb9p88WF15ajtwYVDrfmYlXAZ1+6GQqn82rvzjR+n5nkoaiHApdwDWJUsALt5z2bkbHORW4ZruW67HZvSeuhTU90UAJSgEuDe/eV7ZqEhe4EuoG9pw6nf7y2EZOIu13bwMc0LtrFG51I9GANnxAFeRXJQ8EkzEtaiJODQYjhYa6qSPjcxIKusQ5+j4f9p8dUslM2edtlXpMVpi2Jkwqq/3Cwxi4b1U00c7WKF4y9cSk7s15xRfJ2hQUrhrezAI5XtXsDDbuWKQKYTQ5tImMaCIRgIq0mrsjE50olUM7D8Q1AsQcy4Sc/e4ZppvlqdwVSjQPqRtTqa1MiIzhnCFJH9Etc+s1i11GLFcG0o2ACg4LpsCRyl1CHj37GR3WxXbbUFGZaXUcQ9fsxqvtPoFhOT9ly/6H7nElIPWETG3jp8klyAyDGnJv/3SmBYxH4CU59p/HYE1d9aSO0yPhVdw6ilxZnkmOfkVyHpsgkiXlp6aShKD+ZZ9vbuprc6Jy/vR68LOOa6+09a7fDY27by18UMi8tQ5fhzK30Ol6PWy2tT8AcKlIfc5w+6sr74DyivmKPOYKnVN7b4xjm3CwpSEEvieSrWoIGS9MJVWOZsq2M8EviwFdPINOt5jPrEB54Jx9lyEvx0uKrTVRk4uS0Wp7NAZjFKt9Na+tufsypGDa82XJOHJSobRqQQuDhYUx2QupHY+GEDRiF8pGNhHe2sytQyCtiQ9eB2/EolWd8PChk8idpVhnEcMWG/Gtim/4Ik/mlz8LFJjzeqb6ixlJUR4IHKqYMYrZPaYl6fPV8Co9BN+uuf9aj2StoZZBVwat/5kq3t6fkZo0exYBni0mxqrO3NK6F7hl8njdFydr/hltAo7z226CD5Yh7wdh/TpLACfO1qeb9Hm26jXStKBRJupb4mTRxIsuIOrMholO7g2iGJu9sd31xx+/1yNTidBwtOhuzT5LMBMGQ7pRgDDCd4YH/fazqJjDhrytOF//LltnMpbuQuto006kdEUTx3MSWgSk+U3NmLBaVlf1f4xw6FfjaWd/v9h6wkLYtvZUbW0zAjyEzzLqbvQlNHdPFtIQk79Q9LkuxGelZ1XbqCfHROfXQYMYNI2/GFyDOCXInMOPsu6PWYnxmjZ+LeNbTwm5b98vaG/IXqHiOAwlangVsNABbhDhGTPjGNQ7YkuvgP0hSHEncDtUP/vyWVuz1nMNz8tjdvECabnwtiE/Y8BD5eRGohvHO7OORp1HvAmujOTXYU69182L8vJdXkhAoZCJVF7kYe4CnrPKXRr/SJGdGvaeLOz0dXVoJXg2rEcdN1vjKWbKKbgo+fe2LGbXGPhD5maQOfpzo9BNIygkBByxgD/axSJhAqYmb3G/8+5PRDaxeG5509/ig+wZiAhRciYjoo0mhmPt6cK7WmR6QDGrOo+r2f6o6591klXX9bfzT3H9gcz5UkzE603VZr815XzUj3/sDsKztNqPnHabG4IpQFur9MC7OnfD2GCirIFY6ZaxvygEYVOflNAkOfhc5d5Zi6A11L7TP20lnqHE8mJceNZc/FbCgdNNnA9+wXdsQzPdvpn0hwhw4k9RuO37WDh95lgqj/hbFljnonOBHJ/K8njcWGtKmp6eKDOZq1ipkVrAkKrLyUsIOXkVAP8pR5i/kN1KkhYNpcxoYfahIhLfUOhtlB5lc/UHlN5+aSKUapvmNRULkbi/3anHcKQeg7/G4GmOwczu+a15G8IQLEwluugYWY18+mLQiYZXAKqm1gLIpjZyMmCFbL2sKI8mV2ntFfdXkRbFwvj8KmvwOhW0aNQoMAJzEe9AeoLH9c8IODuaSGHYEHu8Gwkt1aym+rBQysxi5qUaipwqxiuP48qeM023Zx4tLmZf9u82rDPnKnupDNWjpoXYGnA/iZkAMDCzecpze4UdWxHRDda89xekRo/XtMqCuRCJq+t7I6NfCteihOvkisFotah8BswpFyMhdNQ0k2xlyaNBTSoVfVfEttHD5U6GdljXvUoShWRrU2yVHZikyR5smUIUeAaj/Ze9x0ECz3m9PVxWzToVAQU/tEaaI9MKFX1Oqo+5rlTGTTCJGu4bwQVaUkBdWAASHSjDgeC7RnNGb2PM9hjNy7AJHB8PIKIFOZ6/dFa/yNiaiL6Flhacnc2RYKMNn7l5WgOXbT8fHPtAaelCVreC/snHTwiRTZYSY3RaNSqf7kx8e5Py0N/PD/ZJ0HZnqKP9rBWIBw+LloLgOuALyEY/SWv1pOnFVcOStRR82Q9K3aEr1KFMQpiE07l9tm6Qx4WR2hti0jiU+UJr3gCVNE7y0i01YUig9k1U863385/3oWBxKO7UGyZOKpu1TSn0oVLW2K4cPRs5fzvGfAp7lYxkBrw/ycWfZbtsHQtri7Q/BijBBH47zANDtCwXTIc2U6ZKGXF7/GoB9GbAroWuMV1mbthkLqWzuL7h2A/5ZdDGYwFj8L/i2SDp6QNI2dbdbIInbUyUMsVdvWOscsbkXx1kKi3672n40cy/fwZxrEgPPn4agXpc4MSnoEomjWdHZ+OPeUGhNq1bfJSMsVlrAztjaErSf7lgJNe2td+H18QMoSKpcg/Y+j31isJRtl+re4+fkV5D8TFt3CeVj0aS2l3NdX/MGQhUwjsqpWHkbIOoKcJjbRMzeNnUpd6s3mqBBhW31nDCrTgA1ZVq3W6jlklCesIJNNnPJ6t1JWxM9Wn3DnDYzHNpqmhUoeDpXy+PitGJIVLjcoLpHtL3S9rceYelvY+A+nSkdZ8B+svI3AnYh6Ikk1JFpBLVwGMzTOuG40ZyLF+Hg4CIWE3p4JdOombMlO5XUaMxAbwM9sopYjX8ExHE6gpz92JRd83X5pEVoY9p72ikIn3Z+z9PjU5h7vx6g9o97kikidBWPLFfTlnwFeBL0SBhIppc/TmDx12b/xlqf6eYzAQg8r4CEn58NdRONd/3gSiVl30MQBxIvIexAwk5kcTdHlchBNcpxLiD51O3Mhjsn/BPzwfA0tbQPF8WTR3kNLXn9yVVAPiHgO7u9tvl13AfEe4RHd5+Wb/OaVA+CYMQ1DQ7ig9RfMVVcFAhvhev76p9YLLLPKAxGPvoEkuSeB97RIHWEHKVGx6DrEKBwlESs/1otTZ30mO8/twHdtrOzzPjiyqoaelaxyS8VgoGfNLh6Av2P04K1++NwyJUslIEzSWAFndRfCF0ybNGV8fjGTT+WG9TOc97AdnduwzPvvGiXmzN6YLTfWSyLGrEbbRSzFSXRpVCwmFpY5xjn3YuoptUyyDUn3Jk1ByQKo2+zwGI1QVk8/XAbExkNAigmutIEqy5MK4oRgtwkLDTAXv+8SwzpFQYA60EshaHqZVIQt2aOHZYREVe+beY9K+9Wda5fjpXmN8mdaInRdK+wvTsOOZy2wT6z4rhgfIXxVUOfzwKK7Qca2U4MOq4wj2KNLLc5wz8B/ptrUCSNzjDH+7UZnHR9lZQxUmpy5fifeqcS5nNPgO9HEFth9o0m5D1rWJTdtCl2kgACkkcmEoHh8FCFsNDW92F6LvcA2cO6VkgO8wmM1EGLWnqQca+SNekbhNpBL51xUEbYYdh1VkrvOa1EF2YW9gzes+HjSYhKgf2li69KZUXt62O2JtqENBEo1rLR62ZOSUJgn37xJ/IVeQ4PoEzdrtc4d+aR85jK0hp9fnyM26dspu3IAGe1fBuiF4csdDqV/kUClaGT835QmR+oDQCdV8asBD0Cm/Xlp27xbOsC6zSvPbpxUK8iVRNzHhMbQfvgg+UXh05QT+tI50s3I3/QZ08eSNN0MrxB/Bn5FV5MIZy4jfrlFOxV9tkhWqNfcjaU0PK2G06vAQGlksk3s1GWnnVO6jqTK0ZGZGmk1i4ZRmjOkpmLX6uXj+1gHbAC2iz3mQTqfIvJDgWkgvmcX//pVZujZ31//QTvvowy9yIFq4qLC4uaVXqg1IC/zDjnnRcyG2tZnbi6UPZ2/9sfIYS3ecWinh6iVCY24NdplPOxLuR5sX3jeL9uGThnoN5wY+47Smqt6ypWR3RK5wO08WXLsW8QnHgFQqlpSmpWL2UCbjTt8VTBxaTIxUHfQ1zzQhxr3apEz/wIAAfI0Y6Y79uyO7wHtjHPVNp0bqXXndIo5uplrUQZi3RONMhV2Vx3eNUf13UDgTMrQ0lU/FgVRPOYRfLLDuWMxe0D7kgm+MDbMZXifTGD6ANjLOKbzUWRrjuIo1Xi11IFWjVAZO2b8DQwyr5WlT+vQ7xOp7wAsTjcMy4MfSCDsiX4MCQvyFx9HACYP56ik5UbZ8mg4vs30DyhnheIHgVclC+p10ykM5DbdKrkj+mTdB1gcyxAGumpNmgoHNjTRHXQ91VWhOVxUrM9BvwILpnIyvzlENKOJHBJznS9P9dewa8dx0s1n1KywCmmg8JRAChvYsip8wdoniw9MDDv7ruJIOsjQ55Ro5o9d5CwUtyax+qsTiAj5w/ONVcn//Pj7380nl4ksCKIBQqMVLZhtxE3kv4wtE7GpBWQOu3d0Ws/aBOj8pG+lSwZH9W0agXYHdSsoXHE5IIixg6pllu0jIibEotIJx8b7rNEUvirVbPrAYFl7nSGtPBEydm5NxKhee5zQw7aOx9UqLjVT62w+qGu1DOa6BeKY0BeneyDyHvhEU3ED2vXeIOK+6kro5T6XS+hagp0e5AF5RjRFxQGCk1qSurmHDNIdqNLT5Lz1+inFhZplWi0TeoWNNCuNqmMwYYjAEzjeE4WsRdNHC+WK8vqefD2fzQYLfCUmWX3cS+Wlf3kGxNJgaNhN699B3Km2JAKRrCTo4vvFRxUbbGXNKMDYAaKKqxxX6sBbgdRmLZlEfvX8gRgzbvQFkQafrsinoLDcOLzXXGcbns7E0vL8JuBzF29Yzo8GRRrig5vbuYDrUiXDV2tfRH1cRrKlXwM4RyT2dYdgJ1jIeYlT+rCMTPTnq6iJGAheL6mUypHEscCSx+RmAAl2RxsQs5JDs298hLBfPc9OSSOYFTuKTZFjPrIgcEo1z8xi2+O2qfRDxcp+Icd7vB4b0B9Hy9DCqOIx9sOdE5DOif3R/bvTbGZwkRfSE2Oi7M/cNPWW0atd7THGhn9HMm++x+jx0Jq1GDaxqSkpcmVC4ZHf0u+FOxkHFGSkQ8nLc0HaA3Xi0NLdT5QHcgfl3NRWE702l24LexNjH4NMzWbWpr8eGWL03our+ofkMq7t245i9vImdUOMF2eiSZvFtxBBreddsKTpE8X1N+xETmQ36WrnJ1j4Dx1IMcPefYrXS8FdFhjJtzABcAy2V7EaSeTUk/9LfglC9vuMFRIJRQmXstTAbXPvuyS4PASv161LuXjn7qYT5oEFPUytWxrw91mr19/rnVwIvuLXYFlxDmp9+0NIf4zMOYMSMcHYV+DwRT/1VhId3T+qQ+/8scAElQFnQKC/JK79iTi0YQxbP5rlP4/OOn8esdZXWK7cLZdIg/6+ICz2bzlM3o49oATqu0/byN07DXe2bz1DYI7gOBeDhiTJ5bpsqWA52ORHJ1GQg+DEHTWg092YXkGr0kibAdtLqLFO7RsXi53kpc8jM6hQkaiSz4ulw03lmGS6KIVTw5Zfdancgb8dCvtgQeGDqSol2xLVxcRpIFXHDoa5L8oKegc0Frehrq7/YbXEk6Q48cFD3OCV7roYx99+VnVcHAhrYdYKoMD0lmuNmkl8kvk7lQ7ZFTvRT/nTgBSaStxzuzsU7CFzscIWjHvHra6xSXWHUQnl+8vj5QDz+nhIrqnoPLav0/iSHhoprfp43DgCw+cOf5/+DMxHX5Ri7M1xbh2C/Bg+ySH3DlGTwzCbsZ1DtmQiGPu/GbFVjTq2QGhhidkKAAOyoMHAH4/pQYPmjuLPPnhH2Rv9LOC94A9i6C9l3u2VMSceF0xPrG3ydej9zqk+/ex9NHFMMEoBm8kdRa3HL3rOeHQVbc5rQOEhtcLFKQuOZZaSo5tpxBVLPNohPl8T1wDNxXEKgFs43D46yIhq19lLuHjSMmX69ofu/sTEJ/dwhM742ynUAsvogdxMzOsvTy5XaNdoiW46p4YjmBRv1w2C8nkwhdYJPp/WaBn7QlQoAyB51ptJOoRBGa1skVuIYmKp6HyaKV+GcOPSTnOhqJN5VIV7bedHZwQqqnw+RxKv5oJgcNlyT8EEA7B2si9PAOuBgNotH4ygmxP0me2+z3+oLuCfVXJVYZXJulCJ2JPz8JApfH/wwhm35O7zvAjElPVXXRFtIVtVNSnGkHhNcWAW4EDUXzW1VeJrO/eRqISqfTrqgGPowrqCzfeqWwSS4b9i0XXHRDedr0vXWve9i+PUeLm9KXacYR7dSrNm0GM03MxOnvMWfSaopfjeP1/lXZWJQLYXK8AkeJhcG3G/z0Rwu0B98yWAWiJDODCuWflZjR6O7aLnGUF1AZ4OOvpj68oJBpKpisEAWm0gz0kb/Z57CyrfHH0XUK3Bo8U9fmMiV6s675Cy38d+nmwLdctqaahnNjpggz+YAvl97TeUfoVoa1TcGGEabJdgTJlvP14sj2zcuYN4XBA/naDXhYIT0JDJMCqsVDOAJWcMN+0nCkCe4ewnAeYgBK4xyfUYRptueYST1YrSzTDkm6gi4hcOg3DsO/P4Mi1Hi6zwt91U8HJZGoCMDkwa6ers7z9ql3HRcrcBTv8h2SGObMic9IzfIkYIntZrCjYefEq1+nKgF3ozCOog5G+FboQkx56PmPCD9JfeqIzeOWiBCsJlpV7n9mMHAgA9EL1GS6q4XelyabpVIGaxxqT7nsmq5SYWUsaSZ55t4grEiK3NfHaiWcF2LrTcoHmukYqS+oLAj8yFkhHCacsWLtRZlJ9uKtuGuwq2ugQuqRC4V37M+DgFr0+mncwvxjPTGXXr7n90v/7YaYsn/opZ8pQL2h07X7XZWuw64aOuI1D/Bx9jnirJAZIXwFbngsY7JlEg4Xm2ObK62PQOJv6afJGNmO+JfpdfxkliU4EOjwaSwUC8YJ6FLCnWbKIVyPQi8LTV+GCbGWBxkaXbPE++5LUeLnmcm65Hxi8zGfVh+zVO/34jUr/uxGiU2j2rMwG2IVdjxVSzHX9siSLR7wpsrwhMxiqA9iIAV3vHkXOwgaSvBRYM66JmeYynk/q2bqKiVJvymFPDCJZQBNknoQ+MSMuvRASPj0eXFZUvIDvw/Oog9QYqNWc37sknKOZcpzL1tp+uE4e2+zxPiJTkQwFjpGixJBNoc8XyFG/404XQxiRocghZWPqtJoxQdCnBTqbie8hTiPr1tXej3YxRrh8G16/HtEVABVqLiOr5M24A6Vb1G7mie7GkarR8fcIwIPP05En2AVc1yzffO/cgYiFkB8jbv4OatDW9szv71kDdntT7JhVYRzq72j2YMaCRBEWiGfMkpa+4ZtWF6wEPhXjVoVxxc//Vb4pY7bPu9nToyIKTmWLWfrNiajwKhuEoA1czS1WhOs2WiBtCdBYQhdB2AF68HgPrtHflPWU3i+Kx0A/LDKtt/YwUv4Hb0rv0DFGqYfmzegeYUh+uFTM3F++UAhIvCk/nZbldZviQlqYg/tRZGP2bAbFWmknEMunRPtndZzIfOt6eiu+C3gmrh+N4SEUeIFi7q2IV0AYgzA2B8W3yiJoEStnDwidfXbroTvjdXWXt/xTrwSRB0DZnJkZQOrsNl8nwt/yY3Oee310XvjdWD11CWjD3MWb/2eYRNzf9drPXJBwkBAOrwVFCbRIExvNStCTmJ3guQYnPuFJ09pEo+ftlKi/2XuzXb7qf/N20kKm5hcMlpodxDN8dGLm6pyVS3ZXLo7ayF2bat1392N23jYCup/CkUXQz+CHJlQ8Ox8ltU0nj0a8ogfvd1PaK/7QsYcM8N9u2AFyB/bhvumcsiWzmboxU3Gd9VWVYHeAR24QhUv3RDzpo0OUf2yPDQ+5LPaSzQXiK/eHZtaD2GBdLDy64ras/57QaFDJau+UFYk6rqKoU/UK4q10002VIDII2yytg8IwLE3LOt9cBtUI/QAyC/o9o2/7ITa5R2clSI6qCDMd4584riZKOI5wafEvUBrbuESR0Qvn/p2M5KU0gRMsv8YW+uZG7/0CAIWy8ln1uqyF5eN/c0IvCEH9O/qRXuoBNCkWb3E0Dl5LURuPn7mX31bzSzJ4OZaQ2UeYj3J7oDQSyvzrRSX4tJWjrSYVcDnJmiRBntdsJ8ugrs1Q+aqHji03PVojW6b9untkPbvA5XGhzPenoOPXS6jBTvjBiOeQU1xrR0W8to7Z64gjRviCeEf2r2Gm/WXA6OPmdLuobOUPqVJ5s6pekfS8SpgN17+I3wGxIrIxlOXx+W4VgWHkCgO1VWitZsweva0oOlYt3q5VJU3iQ4nYaDNvxlKO+FKDeFPp7AXIGOlFWveY7jU1Gyyo0Rt9hqniAI9hLe/NebhH3Ydn/85ht0tHmp70W42iXNillsNp8GiZYOU79BfoBp9C38CXQ4rl6keD1f39QNk6nkJh7Nm5eNHjnFeszMNOfhhVawi9A6OANQ9HmW2biQffGLZpjWsp5P1B7EHfF5NbzAIiufzu4IWkM2uz6pYTlPN0b0rokbsI/R6gFTIFMZIgfVVj/AUhEmw+ZoX+yp5zob5PEUl/Rn9OXs9UH3h2AjIzIo+qxIPhfvpHcRhPe6hlY4uSkdZA8rE4xH8iULTJSvS8hGZwrtK/amOfa0EQbhU/I/m1tO7h0ROPKf875reyTnh637LlW86fd4dXs8VQZcWRWp1VsAvbMzM4xkc723SADGK32NkcA3ZMFxNZaXvI8a0S/2tTvikvslytuG4Gp4cba74fIb64QUYFlzr9DELgYqZ6ESP9GGdZSqMAd+9Vf+NaO6cmUboP+ujD7Qlt1X2NPWBE33zf06trmshWkdmqGRcYwbVSOMcwd3F+p2QXByl/oFD9Q7gPKjFz6zLGakShciwftpOQNPgpMBuEquGMfjdXGs1TpTfZw+jLttIGofPJLmBxDKxg2dlB7swyiWA5ivndHkOKT1MjxpFrllGs8O4ddiRdvkBgKHUjhCe2aj5oRJ+k9WgecssJUs9T22ybKxz37aqHi92ksR2nmYWEojpgy78xygrq+Qtd/17b2GZeDlaqULA9HlUtv/PQnCu1aSDeNfKtVieeFJqNSLLnINOnQgDIWE9yEkne6YdwaCiYVpmXVcBSbZxSBcEK/dE7u12FsumKB0P4FYSEQv1B1zNbGxGnoExeuJM4lotRu39i5s24Ov5A/nrFh2KZEi62QcllEIRI3jnhaAMAeGq4m4pbRdFtGhtnlqJbxNAMdZj11CQ2yHeCvH5PyTAXMRTUjN3DAxA1jUjbxdkgCut5IewOXoVzec8U4lQpAIO9GQCE1x2vVNvdZ/Jr0MG/GpP2vQPMKBdD0FXxyQHQ/9enLezFpcyqJy+9leN95SRm3B7bmd8BcHe5qRFDN/z1T5NKZB+v+mU++UfiFDnjeXf3e+Wvb8wcPMS8CNE89C+6HbYMv5Y8H7fDLJuGgt5hRui3/6m4TWE7yHRTTdAXBgsSk/lnEutqc6HLylG3cGxI8piu8ScopObDqEOXhNmUBClT9Di7xdk9FDmgOQF590lL3vcQfCoe4EveHuJtDufGxToBWnNSTgpaupf3g5A1AwKtEXtEOv34sGHOehmzejVdbaSznPVEycx+XxUU9d5uJVfu6KEMORDHwnxmXo+qRgLDTQEQb8/Pn9uvrYy0+ljDx3mAogecrReS/ZGIz1qXsLKkj3y31TUM7uuX38//BhjKGrlF3VdXG875UBdFyrAcd55OscyFUPE1jbBazBcGiVkjKzzEsCJgmvRVlcbiRy5bptQc5+3rFbBwVlQABpu4DQBKzzzHB3ymA2oeO0NXnHI4alIFgZCtgyivVoliODHeIrEsm4hCtZ9t5MXmpcgrH8SEG3+SeQ2U+w/5v3Ey+pjIdtToR/+wYkxP2+zd1207yJs1znhrJsdxYoZovmMcs9XwoNAumI4ogzl4LQhSodJGj4V3Rzx6+5tawKtsvodpc2LzW59MndHkMnUN1HtYP5QNa8fU16yj6zjCR2TIgEz2jMbCvjsstGcFvTGsZMivs0OSPTx43Rk+IO1Hwt8y0AT4d5gVU3Z/Ty9PFpeql+4owES6GDQC8+iDN/U/R2PhfIJT8z5wR2lLdCGF+kOeN036u7ofLe7v+vogW67/uuoOc81j1oWg0DeQT7+NulNL8YFvGcbV9soPT9I1tOCpyU6PTjtKG3ljVk1nn+DcgqSEzpmSJe1KDSLH2U/zzBNNmnNOVdmqa6+2txc0bOediPGpy05RB2wlHFfal+CHJjEzr7jbtp/V4X5ZP1MYnftI3CPyLSyF1mYMqQIueHQXZBM5xsey6ZOsy8PpQ4aBCmTsCIc/XWWVolY/nbQRogPJl2YRHyUCANIKeMeDar5+YNetO8igbzXv790gwwvAVpdz0d8gtT9Pl9jfocdd3EByo7yexLyD7EvJZ3K89TrOyFQV4VCJI4NFxW/v3trzwiH5ek4d+nqnZQb7Yv7higSFLNYRHW2QHO6v4zGYpAc9afsCr3mvigHG2D9y25Yz7N5uPu47XclSgwZJVFPfGmdVGyGLMv2Th3oxJ8vY0y4cjNMzpxagXt0mOFW0oOZ7vuVY0XxVlY1LNUyCeczxa899ZTpOWee68qQyFgj86T2OgErJS3uEQHdshEO/FPRq8O3/IEu1Dai4EEuqPcsJMMDs/+CKd8uynIqHLrigqMnSDYWEEfIyALVcH0WsiwaB7qCfoUrqakrUtjFCKHfqwKygFVZ9GwJ+hqi0/b3igDjDPbhm2QawHIEzmbdXuDkXFeFYQoWbHl5NKGH/gIPa+chy+q8+ZhxPGqSXmENp4rv+A3R20z0x9yVUs1EcT3aW+WEc68MD79wnPDyLNde9tnfvDayxdwp3zMA3w0Y8TT6aWCi7GxFov+shXK27v9rtohBeAdqE1O3qxksChHgaAV/TEtXc2z3YoVTCMkoqW1pme4zlUp//0TeXWzXyQ9iHaceIECAMoRmLSYykIHDq5c/dxViBMOr+9I6+OiL+3j3lZK4utFh+jyvZxVW6jtkhEYKiugatwxTW/6pCYME5hmEMNkyLpsbOD8/8AOmI95dRe9WzQuHEqcMsmyehC7t+WGVQQEmwLyov1sEfRT8WPn9cEUNZ4+MWYB1sXQe7OPjkXqtu7+w9+3dmsE3A6BEHyVbMZX6cg77bv10HBEAxbRn+HC8QsMFKZHLycGymAMcw9DSsRc5C6pqPxeuk9TslBEhAm6usOozXT2kdRRgKel61wxLcEeLAg1r+T1NcV/hKJjbu6dHljLxLCwqW7g4E1OwEwROQe7GkChujEwfhy4WKCVDILQxxeswnV7s2D8eWIefaRhdnH1u9PFt+qGVObcgU2b+dHzsjSy1mpLPKDaGgmo23RYY+UyitEV7gAgsc0h9irBcsoME5Rg34rVH/9g8YxeQ/C0n3u0zi6n4ZhJgpiJxehGpQBQv/i/dqP4WH5eqdtEfvkMwJkzsCM/9tyi4buNI1+SB1nEllxgSVF5H9fnVA+V2Q7kZWkfUS4h4pDFjFV2vAtygPFIo2YjuzReJMe91apC0/fUbMaZyygg+SuTMj0g/nEtzoIosV3B8/2plgcAGq9TDyYKc7EYz4YA+GJmDlSw1RgelofW3IsSLmfMkTzBFzVTQvhRHelbQt2fZnW1gyV+PlKOgMUF30kyI4ofq0ezDxPx4uI6mXY0rAjgNAR9PVdiiRAG6UV32PLxl/ZU3VNyuh2nwkOsjW1eFuh3iecKSzmrYFHHuMM2SDdkLHUC1r5JZ95d5YiUBuIkuDGOOoSezw9tZTR+jZamq7T0YNGRw6ck1/iLw+52Wf3h0GztQJ0CUntepSHsmwHVEbGRpJjgBq8gt1L70f1dDcgQLo3S1OcHtWhv8ag6cInznaXF6FW4IcFn6B6RoF/KxtGoLPTFcjBD0sSsYIPf93pGc7oWAJR4GVhZClxdXk0FrhZsFLDasS7T9FAFqBtm5WJOqgcLiUJx9/6X6GEXGjHaOQaeL5X1QH3dQ6A9fH4JzBvDJqU3GTqkfBBOZ6g0Bgj+V48R/r1QOMUzTLjjrFStx0gJthlG+aAljQTK/5BWk4O9Ay/sJwBOkTR3NYMA44+QuS28uFMrXsJ1fDC4Ki2lcuJ/11sZjdwnwZgZZGwrJ1yurl0IW12BMRie2sTfQqCWuXIKb8pU2Rj2TChHfyAWVLU2xKF7wFMwqUvLRrloeSNJQ8iLzG/Mby/xWh6u/jSDCjP7+OhNgy0iAkMX3Q5/Hb3ijib4sy98Xkyx4kG13hy4MvyzHUH5qa0/rOP/+eR1EgbW0hOtqoIeBjkeNqf/gq7iC5wbHasELpYCbzCxPKuBpYdeMpDX8ivSrqh4p6o6RrdPO5C7WTmyXtVQXli1WHmo3SeUu5ypkEG5V/7aC909yFqx8dP68cFVoSY8Y5Itvv3WkI2UU2UXgMo1e0yVbgVOy4oHn0I8kg2NlL2x1FJrhslRjhCfRNYa4iEJ6MPyforhfZmz6A9RZ1efsHBzC/AbzL0bN3eH5FxpgQ7BtXVdMC6cvp55eGBNeQArdDB8L71hE3JqVjd7IoyYd2J9KX/hxh6ATO3oMxLgSDU5rZfOsFcwYinDpH6kaSDf3HTlfWgYE/A2ZabV5FuX4ZWHKSU52dfnJ5c0/1vVmamdaT9eQ0guI9YEqGj+lqhIniy2Jue21lzp/I3Ci5Jpu4Pqlj7qyHXsDIBs4+6ZS/5Ylj0OhmkVk0O4wRmOBWtPhA3CI3/jwuIP89++NkIswgdaCbJFgH/j8Bau4h7XbUN+QOJa0/foT7e71JJ9YmBp60aXDoGrgG3oWMajpVlQhZHAC+8zIkw6pdjcCnAOUCd7hp/np33OHoM+JoLPzZyjdnVZvzfD3GWHBF8bLB+hONae57PFxMm8FOFUgDk4rAfXzL/w8qkE3mwV0FstuQvhqpWT1o0xBft98LhTCzDLO968WNl6xgJ0H/im+VLMyb5q3shPiEveF8eOhcPJp3GqKv+u2tFoyucLB7ryYiAxd2Vx7HqAwHJLLho0Zf5egDAd47d9GixWIdNV6YvTg3U8SLmdqptLn2shOHOu6upF85JLvC1Btk646y170ApD0aBQ0CGOABqFEA5PXkoVFQE+hJ9gVnOloSWkGTXz5zJlAwGCYDsL5eJYuHKRLJyWhVXuOvtgcZQ6Wgl0CirFZh3XV0g++koJz2V8Pf8o1czOdN7sOzmstatZ96v8kzxuKWzRFNXrBXhI1BgwOBdafPkawGC5Clif7F//X/btE389S8I9xfNq7iz8rLhfBTKsCdY0hdmNkq24sNtzLSRfl3RwTw06SHhAghb49VoTDTrWwGKAPCRIz7ZuPERHdeM4eduuXw2B+UXsJhoMrcdg6rkcaejHzdpwOqKhVaFzyA1++HIKz4JwmD8kDYWv5uY/jx5oljMCggD/+HH5C023jWe519H7TejlWZy+HfRNGsb2AQua6F/xleVyLZNMoXIHcWyTiYHg77fJU6tGIV5ZI/XfDB/T6yKF8kQPxZYI1RHIKX6cC7fgS/Y7GsMuj5MXyn5pvwL3mPTBOa8IGzm29Mfl0IGQ7esfr7f36AqVPCIAk2tcK9TwW5SCHFKl9u4Ik8kxeUfOUDb2j0aQftAHwDoHVxyoru+7f4aDTTbLB7dKVBkpbaA55hXHONoGzKnd7vlBWFfoEYrq4rtOKtUhg4UnxzzSH/9PeyWLz4FT+zAF/eojezNYXATxS/u5so+Uk6NgWH/WwftUg9riHlDya0AfWjqmI6wfLHvOHdfU43srnqtJdbcKMg/1zHqM0BCYT+ANKlhSwxC1WMM0XVF7jYzOLMfFi0zXCrVw0OTeXozSZif1G+UvTO7p8zOiwZfPBXE4lnT7p2rmBN4LsgbduIKu4qryechMw/RZrhBXXdQb8CnWE69JgkqpGYyphcL6XG5XwUE6XEQzc96iv6hvEaDZM2D55TV0heUhCxMhGaPyewMRU7JnEZX0nCdDDVefwcMoI941Myg9t2xczs2wEPdpeD1X0RRlG3Z36BgHVEUg58E+Z13VQzAC/pNYjQgNh8BABHM7tWAyDrHppAYEBKAjuJrA7LkJfqPxTmj9qWS/HRP569dSxdlKKIx+zmsOn09RyXMky337eKDcCsoIznV/lhkSwyqKVwu8yY/qaDx//uvdppMIRpPEydHJNQ9y+Sl9SOd9xGNozYRvkSJYVnC5iRPUNfLveS0XQHo2gXLFSulSH/iAvbop5H2w37G8RxUTU984CkvcyXZ5yElf9Zmp5ImLgu/RcKHFkzeithQCq18L/cnvcC5/6o3NgNo6G1/JUYkujrX8p5KoXyaDq72Je2y9NBoRxjIJhx0neIgN00zs6GYbOkxeKDYF2+ICDs35RdzE0KWdmp3HcGsi+jSuf8aySesptsZ0GIH4sseTga78LgD67cTo199jMYPAg4frO+cPjoYnI9q4Hg3tkntI6UE9WXeqI6r1JAyAMiT3TR/2g09t1ru4HJcucSqur7bxKcwOSQeah090ProgvvBiE4sec8dg1iM6bqD6GkxgVMzke3yVVuDc/KgP1qQ14SCSff8vn36XuZn18EtMEKKWbsSW6tAjGSM1omkg7IW/nAGAevzgnT5JQEzfq0HuZdbUFaIn328TnpPLZm1LEancZuKo2qYWPFa1Y9RTQEhTaorTNAVw2JC34aTBYkf6ut7Sef6aQGhKo8JdoYB52jEXrmFhMLAgKN4/db7mD9auegZ7TPZcQsRUqReChy48FRHpOcw4W86YvzR3Oiz+fvczQ9eUSBqS+RCFI0I18REU83TUkI77mx7OP9OA1ytuBsWBq6WFZ7aGmG8SokW97bXu+r15KYul2d+0ASHFGepMwJiDacxD3dXyDTyn4/9FOI39iPeuM/yPd4d+0UPD4ALNcH4S1vUP1hUmMH+bLj9sqlJaFySJ0v0y6pibCAAfKBYDYBwHDmA5BQlbqsIZ1Sgf19a7ybNrMAQoPknxcR0hoyJpRl1l12cJs6VViLRCPVwiuK3y9pxn2jg6xHaMIZAxL4jgmhY5gEJ/tCKsIpYDy7GjiBrq++3udjawMrC6E2/JXaiuH4tml+3EiisCi3CKQk7GUEQ7FFjPTIEE5ZKvmL2TODvM78WKJEfU01yDhTJEqYQljKdfYEiUAbJo1SEnZLK0PDe8vqp2YhdjsZ8P0NTjox+L443mFvKMSwv2Ca9g+iVf6EJD8HeE3Nzk5Ig64nxk2D9lj88dQhT0j98DBBkyv09zR45/FLE4o2jknpOUZzbBmUHTWuxioDYHfHU6HQM5tQomMXgfDC6iothPjxQBoeEkwAREg2Iv/7e/A2S8q4m4s4h4R+jD4+TEWl3G9u9ZFhLkQY58ScrIuQOVBDJ5lncLq/ooIsnQi8P9LC4yHYVDiVAiSY41qW6i6xIv5y8sw6ejZsw49OIj7wMqUMPm2DGc/a6sFbW9/B1Y3Vx0qnyGwTrc7q/lDIUECaOOoNZxHF4ifonXnxP5m7uqhD47sGBC0M7tD/TjPRg4YyH5Jvk8qP75sR8oaFpJDMgMTSj9vIUoBQLfwmwC/2Y7qO9e66JiFanGmQ/2lMDToayEQCFtWOEZ57ovDMKzZYhGyrR/dBuU5+irruKmS7hAu32JUaH9xhrgPRyfE9yj0EA7iM2jRDVW8WFcNfy2kdE+uybo01FzudmMNlVUASLpB13OKsBntiu1jZWOWr6Zf4ERqcSTlSjM2fppxx9gFX+OVSh67ujiFKv0bMNRmz35jQ75cM1x6vpCKZ8mE7EAOZous7ZLKeFxqwg164joKctc6MwCQAx7sHTfCGs/uZPP1iD97kXDLNbV2PHchLjlBZMqPFZ+IsVcK1F52C7k+UjRcKKlI2XZSpHlTzQ88j11/0l5hPES9XvJoiQ20L7BS+sCoWQJHy5mX7AEXVbdFrRZvu/zgKqDfofJomVBeWPS930q9vL3kOxVg13aUQ4BwJS/C9+2nGFAV0YczYNXQcpzyUf6Pf0zsyW67L0bd77/yWNjjWr3LH5Q9I9XhZF9zUj6gA4kBeCtFjazBU473GCx94evyrhgC2Z8qP/Gi+yHfYVheyZnxssUe4jRAArLVy4qeuX4VCzwECF+fdQ5PnDdJe2weqBuuhJGpXPkgBhMGyf1SRAxg2sIbtK38gGnCsHaoVaa0Jdxnjt8FrVbQcSY3cI5HuAMCooMOjMGPCC8EnwGv3fWf7N7uZe+GivLZRsbFz1YzJcBzCPCGCjOuKNY8MLYCl/c00vKfCVmrrLObDe14EA14PvIjuIz40xHimiZM4lyLegUlRCUE6T4CtPM1k9j/FMRaHeKjGkP7BF69Uznn556eFio9zsWec76UO8oa0wUoTV78xKHBNR44a2CFf1nWH0/cJm9e41GlfK4ejxe4ZgNVS3Nep3+h55/L1214T2jYQGwtKy7+d6mDJGa2dSCYaSpP08npXSeZ0vo20TOCSQ3cpJg8gR+aVYhWcd85Lkf1NH34RyY4XZ0rr5YBfdRHk4MEIV+9k41EslOm3AUBHOrL3b+afJMFmKbO9BWvK2AnoAGhS3y42NIjD1cBXGhoEDkv4FoPccHxXi3V2vXZXv0IWBFdqwicDzQimXJ/88wSinJXT70br8szs1YOIoxUjh8HO8P5ERyNZve7gz52Bb7hC6iKez+uL5d3eqWkQ2uU5v/abdAnd2dIUPlowNAv3rW+GjhIyP6fk7RTvQ6iBFij97QBN+N4mgo18O00eVbykKvuY7QqeTQ1eeqb247potV2OP05G/PLlOedAD0kOtUtPlUUhHgYWx8qaOG4y9C69wTjrlIllhqQ5eQkd7HSwG11hMkGVZIQuNsDSb+hHib2A9gt+eLyRxEGxRoL8i/2rIFsKcYVqSmK2AVHCcPDP2wfjpGE0tYJWxvIHwMRTgEiKYoKFidGULsYAmtUxDDJPIvtyqryE+gatQNy3W3yFkstrGTjQ0Jt7hyPUAsb/zZYAXW1uXRO3ifyrTNLlcMaVnbYy7DLCeObNPhRe4Ez9ac/X3uoIyBe1GZIu5HwakUrpgHSSP26Mo6nyH2yQdQMQkM4UbxpsTgB5DrB3OeeXWfP1iEBl5yskqV5R33rAt8yrLTLSaREUJi80Eu+jPSTV7UBL1bNG5xG6R63/bEbgebBzd/qTxgCuCAt0F1Ez0LkzHgKg0kvr3jgIpAI8dtHHFVZ0r3ECbLyPx5CFK/err1eatVbZ/KdBvtiYq7TSWmCxdD1le1L29rjHlcX1YTTmucEFSlrrSBco7NUp13OM+sQ/7z9UrFyFgiOkWRFxjlo/LLGY/eJDZskQXxyxOPT+p3VAouweVJlxa6rukaX/noaexFWbLykjo2o5AeUVxeG0OdSN4tTDHskmUvVd+fdjFoc1JVdwQ/n5uqQn3csuNr/MGhMzVmLx8w8xVLMI1MhrmZp0vahJUFpb+GWAyRsdq4IaZLHvDsOAIkhb6nXl+Kbi/CVoTWZf000vyl/JKP3Y+Lt1JU4UDMowkoYVTpKTXnQsFCfP4zUwmaAVyk5Gvjz+PTnIHd6V6sI40HofvkPqKM8crG9Xe2tMoBescyFHwrze4Sb/8vulMOou5NBqaUuP/APq3A0y45+Fbb9bcTNWfIAFcexpQUuvjfkJot2piwX5upKsxeRpSE8hHUenydoVfpo1Ji0QvajAAZ9FIHzaWJHLh3708sGZ0JT71guTporBWCA6Qp/Qmwkswag6vrdc/zEwcYtndPPtbAHwexynmL9Knkx5Rl+Jhtpj2MioknvW4FgUYp1lDdngsJiNTLYNBNNkOlkzJFM+8f0x0YwBDFkXQp92H8Zi4X/OfRwqs6IlMY2qWTQRFk/fUFR+UQzHAh0BTLiJwOMtWUvZM0dRwULoy9pWTMtrRNsSniabnm4+81gX5b2hEbM5G1F9hVNS7iS7fqWiskVgsCYzgLcqSiRFyP1HRHuyEZ3nB62YRoJBb6kvET84MeWq0uf6qXKzujUf58bJhr8R8doOzA1EZrlytrRQmx0ImaQukJFktCAhmpXD70c18aBOVqHnqxWTmnHBQiSQePtzFE792rwGHaCM63CJe903GxXv07ADGEAYYt8lJvUpYIEHXXeS+kkr3ixyoT0A4Wbh4QFEmmcbL7iOVu2D2hnrrodlIFwrqQCZsUCUPiFSH3uko8RTJgrCVB/PYPglxJjiW/5Um135CYHnRXgZxkvb962w3zFSspFBLXlqjnWpwV3PZ/g6YhsU1K4SUX1c/3uNrrCacv5iGRy4l4OtzF+aFVR1XVt887WfhoVl/0T891Ayau0l+RxWrlME9XzRYljzJQOnmG71tW+FJeYDkiaeIR5C/Bmm26Dq4kq5xVKz1W4w1/REqTuhi8T38sRAIgiNsiuwXMng3pvg2rhZZrQz6kBhhCjtU7txcoqmipi6rQukwCsi6GnaXcWjQX3w3CW5b8pjG5cQnaYnjX4yv3OXmEI1GFyuhbIlJQouqarkkrySkE0Nie4oCluzauSUqP71Bif9jj3ZUd8H3GC+VSTtul80FUIG51itAMo4zCVgwkSWz8/4UIeo8uYXRPWkcbWkWMkM02kBmgjzlrlvPEDKC6fLEh14uXXvFaCXOcd/f1nPiF6tWyM57IKTSRpSwIP5Jxa4gly0u804qpqsjLk5ZKw2mXdVfieLZ6WdtSp2s9DE1GQWjgAuD9vHGRj46ydheHgLw2gPxUXdqKsUr8HY47+/irCJxE54TsneiMGDFl0GdraM/6yY65sj+iFzH/kLLkhy95F+aTLrPtY+YJGcXkQL475zXWvBlAnebmMTAbcNmUAhY+tMsdAIQqGQxdHdXVWB7vSuqEu4Q3qrfa+NWnm493sfUOyKUt4KcEOhqnfYwkOXjVA+pU3N4Iy81g+G0+9tiV8vG2yY3G3yCFUfcy9uwTN1/P1Xz810MLZZDcyICqAZ2mHY7eD9bNiV+Q9O8PeYhTEy3efHej6doEStysJAx83YwCRNuEqZ18xUlnIuAKwL5/Dd2HiwSgbNcx9gCi3PSVWRMRD4jqovjNjKbWJDePmODYl+go1Pq8ZzQ2FrQYVkcJsH3IMYCQtxB9iO57151ecLhaydHgj2Hm1Zkzt5O57xNPV7DvS8tbX1VNgMYRC0xnPU0CjVgsJ0MaFOn6lmcQ8+sMtWkR8Q8zBXq9+4IG4nm9FA4zgdEq3geKJQAMfDduNPfVCawxf1oa4R+R10WblBO20KRWBhiVn3hG4945bbDW58X0hgD8kPd/fARp8nonOBzZiXO6C75uI8fLsyoWWzaXd6V4n0sgfqUkWw3ReQ9cQanO2vJotDw/u7i6+acbN7VU1FXjdS39dwcVRvuzFaSgM35+PN+Ku+9ADOLRv50mguiIJKossIXVaxnSCAHZ+sZYmslya0YoSHRFO7pZdafg2lOTff70gE8ltv2rzwf3EEbU3LhF7a5ngFGxwDMh2LabyzlgC21IauFqMMSw4YJzSZYI9ZnlMvgrDlv61QRAN2QFawsn8+EMYOKE8g3s5MPu6FD8UsI2qkjO2jk2HhhrA95nxZeAEgNZtYQ58RjNHBiwhc57H3knRfaSWXhuMV1xe4HneOJbxvk9kb0SO1xO8Gew3ZsOlBqRrZ+1iAvZyzPYjSyzDPO+6SkGLzRepjGstnF9iDcGk1MNuYsG2GXHtyaMMuGJ9GU+UIIhl//QnAmBXEK00eEeHUqXjKykTnRvBLku5SIxBv7avHkK9AgatymOxfdVGnex/O+z2Y/Dl4Xx5G+pNlNRzghg/7vT4ptsCSjdlLH4NaQXQSdgCIH1yX8anBHXNhWHv15rE1hG5R1PfbOOmUcZMRUnq02D1I202k0/3hjXNZWOr7DR62WHT0k7gGeehQnolHTEnXxB+qSXR2aMyh39uqECX69yg5JkTVKVDZvkIMZ8c8t8mncDwJSBw/VA/GMLd2gCLh4RKFd0ah1lW+wHiXzhWua1tc+MV/8YiPUt0QJRxkUKqudrRmcquyoD7gU2HA1ulUqxGiOmK1/UYbFXpGH+hkX6Y7TXg1zcun/d1CVNOMXJRXumA6mdlfyNhL45qQtBGsdocgFaTnEuVY3fxnayG4BAhL1rFyKeDoVsQaaWJRqXTty7bMDqHVv3+0jNvRRrJYzz6uzV0kyYma44geR4Hy6Olpv8WE+N+CcSkoo9ATmziJ7xxCJsLzq6+Olln2tFnIi6xnucTMucnftsBSjDfsguCHkhegh8RT4M7eaBrzA5OyHNbmXxGHEwfnoQ7TMS2voYbHPTe5uNgRS2fm9lTkTlR4fi2vsmH89azrbXkcr/c1p7oIp2uLLjxRA2PPhJwvbTa5GJorUu8MjhhD/sF50fozkVOCKSN3gfDyHbcUnIOCwIq4zlgxfGoJSk6Zl6TncYWGvYmBIghZEZC+7EsMrlV1Ckgx1R67Ubi4+i3/ISH7Oo8ISo3HjDpU5whjWsQKJWjWyaDCTv+1nocQP1VYnkjJ5sYhqLN9k8mRYWSP4H3bFMCzxE6ptsx6NYh+sA+hx1q6B8toXoq6fSxOlBIq9OafkHf+57A4sESt6s2z3HC7EhlggzepG1jtS6GgCXOvFf50yAtPYjL6NV/PtKU+9gIPPQVd4WGNsKSIFnMaoH7NhsIUFExnRIQ66BaxPoooMM8T973N1mB8BdZ/w3usKI66/PAgiAsAqa+Me7i5RqmPajTcFenKIdzWlTzdHPGt4ppFth9QwiX6XStQtY5rKTnO9R0fxg0bhz/76d/ggxYeXaNXcAMvUxudOzC5aX+aITHLNdT3iAd5Kpgf7MFdRwq6f9SfkD6ndqj+VrzJa9jxs2xg4SwWC1eCP/afplvi0NUZYvxDjxPjP2NRSiiHs2QwoOTIsblhgwVUoMkgJ7NzuI8hZ+2Pu9nsXoX1RrRjdjMOdEDAGPfhM9nQx33DvKiih755UjHjqyJ/gJnilgdu+q4Aom+Q7Yr3jpuasfh/gP7SYN056wfj4yDdubZVexn1gYp/BhFlpo5mgzxcH27p5dbPnR4T1ZGTFgpoI/EvRQ=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36475686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MISSED TRIPS</a:t>
            </a:r>
            <a:br>
              <a:rPr lang="en-US" dirty="0"/>
            </a:br>
            <a:r>
              <a:rPr lang="en-US" b="0" dirty="0"/>
              <a:t>Missed trips have stabilized at the lowest levels in years, but are still above target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RErzEK2/yrCgrooLhhrRxyNWIXY7OprMWifEw4rTmTyhnHDoTpIH7tDGjkmPRtnXrpu2BJ/0XAM9zV/Rgw5vOGKCm03Ni0+rTs7vsIAJVGvLVb3AmWLVU1Iijq1UKTxuVT0A0knj8iX0/8mORGhBkRTIOV8tI9itls8/M7CTiKi/OFB+z4a2/ISE1vUxcsZqJBnS/VsDtpyP4AInORZk6eXXSZddj52yJIyjzMy+SdiOQEAuDEdNzq3zqlfAq0Wq3+CQadPbSxF+PffLOjykejdJLTyeEMDCn5uQYq97iAeY1ltC32D3l51xHhGGD9QamuQy0fsiYOKa1XYEGSDTleVPSiTAB/JBY9oDhjUZqt5xGlX1Ep/u3l3VrSWrbB9EHEFG8EuyWInA4GyIQH1q1ht//7TYd2PN71NlMAzgR6uD8fY9JYCU0joq0j0i0vC1SeWG4mysCXhcPINK+i3W9Hk2qv0PQ+yA6wcBhQCLivCfuG8XRNGa2yl8g92mzsx5wY4zx6743tWP7rO7RZgc70QSdL1c2jMDnpIPIaLn22rufT5hQc/o/ynT+w15zVVM1oFBXqusImR2ZzOsb+OQ8u7jsLL54Vq/yw/p9lMMkrOVNEgIZOrokN7XlNY8EmtmbzXjOXQdXieOz818Pwt+7zxrbHqa8v2FQ3vuZG3gDPv3+AiiIKNJcjMq/Cdsjvx3VhmGLd3vls8Ii/S3h9yBMksGTNJNwgUeFPfpz9dSMXB2hCPZCf4F23VkLknVMIXYZ0sxQ0mJCf+cfUQ2DHtmtOi1HL7H2UNuxV2zfFd6c7fMtzsIfhzkuuZJpgMVgZbk3lqZC3mvs6I+bcpUAx38Oa5tfO4oc0iK57nyVFZ+2JOYFA2mYr5m+hjcSX6yPDGIqlAqVJCA/J+Hu2X2BMs2VJomNmi9BOAa1Qw9UuBQjJlcMmcpxxRGBWOz+SmojYOUVPFE0ZqZIVLcuTqJ6XG1IKZn/+jdbXGvY0yFAvhiddRLQfBGJxbqy2BhreeQ14ORHeyhgZNK7HkouZb8ZGj9AbwzX+NxtFD5F/z7uJUflOLhEIKcwzBMwZ6Pp/K+PCluQSkzax/NIxhuw6n0H7k+UEInaIY0r+i8DgRBe/2CnKQ94LVjJvtzpUotDWpjkL2p0Nl2vqx0UDHM8TOBTfS1ihLIirVCVuGEV7pqWHjJzO83EWWbq+sHRaIlhvvgYo3wvQS7nSXr2tIYnd8LT3U0H0EgeSmvuSBXaePB6Afig9ocD4fZCY809krFXwqm4JyOT53I5SIqcT8Hh89elzL9Z0pgfNpN09PK1hPgBt7irgcfRsvIU+6vmwU+7tsQBuf0lwPIiSWZFKbZ/zT0dwPWbB2FrQEybP1BKbJ79MJnp0kfTBORrhy9anbWmiOBY+eGnzYnwfJyu9ajt6FqlZ7vPntcfHLxod3yfb78TaWzOwGJHCUFW9unF6hwC49sqo7VyQsvOkmleAGQonfe2yZ7aOMggEdHVFecsd/WCDuVQ9d+qJTTkVlKxUC0rSqgbkGIgwrHFyJsZBSuvZLUmdD3pSpMJanihyoognWs6FTyLVdi1acDG7keleUDzgCJkAi2rg2vYF58BDscUC9wH86qAvL/22t4aFKBpSRWOJt4LHHKhdYQ7eXUlxCFw2aSIzaNWy4R01noR8GtK0N8h4E8Uevrf3MLptL5IUvjtpNN8i2qUkY4BL7xjjegsjlhwLVSJh2QlpPeGAVrpDdF1JdDCqfOy3qirvnHJbYA/6N6IHMoYeCTo3C5m1NI2Jz/jhwYG2LRU/T/Jh7+kbV/H47jrwFYLMqA74kNi49PAxBgYTBu1rGQgLufjqH6xXccEj6ZCm8CyaIVgRjBg7KJKYR5B1etM5L/WLPMLJOOXxquixczzxCR5tS+dV1q6skERzjugBaThV1CmM0B9Mu7CfB+csMn7doSwzgit97+oeFKaE0AnvdSH/zOaAsE/PzmXo1b1uHaGkb/wLB+m4mQ9LbKbk1ZVnPPkFuVYV1ULz0YP5/f/ZQpLYSk2xR6PqZUzex8oIQ+MHT/iat5/KLPEVmtuWnrWFHsbL4lwbupEcmNWUJU3/6Vqwa2PHklxOrTW5jaRPiY904QPzvinRdANsordn7CJoAw9bargv1yG3J5RxWc/PN0SuA7zX1YzkPV3jErOzejIDk1Z9V03+dIcwckau089+HIJC4GISL4xK+1pNXS2hcfT1j8R6HQjWsLO9bGlkA8VTmfHunqBL4uIe71ulGbqNTfjk4+riFtK35PjmcQgeV83gtQVcl403gI9YIxEHRL6/a1xLo5vX7tGLo7+KoSZOGWfR92RehjqN7qHWYIdoCF8PnNKDdhMkHxB18x2Dm4iYuk06XRgjtx+UZ5hzznm3PAg7SrKkS7fLcvZEsEj0XYSNGkRea8pRdBfTvCSzaOTrLtr2a6Bd6R/ycr/HSjLDhxvfJsxqQR+ylHAA9aSRHcosrAeenqd4zM3AqLUl2HkH73+aPcCZ7AIgAuK7wAG6pxfXWdya0f5IG0AqEsGKQ7jsdrrE/AHR3b4D2sGwWJZ/yv5v39geirSqAPDUiH1bZ2AmS5FqLlCP6ZsmncsJL5aLI7lcvPWIGJ7imBmLz73rjvWntK6les4R53pR7QaVE3/1tvgsQLWUjuhs2iyLyudKddoNSmZROTUs2LJwNLaoLC5vlR1pI9Ffg9UzsfcO2e3yfyNElrMsMu5Zk0RYj0uDctNvQuw5ma38+DHYnc3tzVuurWkPEypxJenvRGCn2G26f9bpNbkxLtsUJS3FAW+o1ncNpAiZ+2qMPlKYwXOHofu4erxMcm95GzpwazLHg/+4rPxomSHAjX4GpsB6Vu7JHCD/mhI5j2mdvLoYtdzxBW9SYmYHhztiM8adv8NW6rXiJVn2fyZRd74ZlSrrnkZGbRTsTty+DYvAux6ITuU1SA8HHa/mLeVPQtSjAnntdizMZGJJkSkDQXb9f6cemjN1ee+KmWOPduuMUt+RrTjMYgOp/ACR2DRo6MHibasCNqcVqeThP34c4rzRbFfez2DUoDQPKmkU6fAmdb4LY1W6RExyBWXdQfWtqPQC82GMRgbg8t5U5XesAWQnJvxrDTNPGpXJYQXaRRmyOFBnlUS+6JJjuXqX4uFX2z7YTTZ7Y+128QHamhUk5ai6rXKsPmbgaL1XUCgBmWEmNQvxVmuq7XLAYvfdg3M1DFq6Ff0MoVosNmIEmuWHvenp31lorBYGv9SYdY/BG7SF0UCmHfPWzxlr01zl6eYvI8AwKiu7NkhdrFCdxcpDSwIIbXhA9sBLG3/Uzv7Vq1iF9TyHXxYT4dTEKjoL4k5fNLacvedokjuzuyHqTfDRCUokaRZMlJ7F65rN01d2YcE9U3apUO39jubrpuDMxxzclFOAIPf3Eu1ymVV2I6c28MV0rMvtQ1hgRK5+E9lUy3nYzp7JAtCx4m45+LLXjGGUvvnYvF+bz+JvqAzJW/D5KAjE8mD7Y8MGiYO5UWMxZpo9M4Se4y6WkysgEMKb8lrirqVmZWPEaGCzR4qLI5nyzAJ9Sq67K74qmXgE2979Xd3WLhwaW5BkvzNSCAky8A5OECbx6nkHsgsZtHX+tlx+JxFVdYgy+J2gdIvNsQrVPqAH7JNy7vcaJ/P+7JzVkxm2cVOYk0UjR4vleVS9nG2/eZbkhH/x/r7wP8+P+/QoweuQk6uLtjdKqlX2NtLPVwISub3VsTid9LF4zLluxow34e5/KlJGKZZOAHvhVdOJHEldEu+MiJJaszg10GtwzPLOVOseBZApBRjsL/8ON+J7Maf7Z4Qln8UMf9atDrwJem8N7CYT5UsjJWY9oHbRZ2uW39yYrOr2uy8Dsmit26urkDNag79BjV+xyjrEbFv95ejNz2AJUOnqS0oGGmwOI/cDAczyDX6n1LPMS16epU497IiP0G+dnEfyE0bY0EOGTAc0/1eMGPg1xmRYTBKWubvt5kBmxE46LHuMJErxn76yUPv3oV0UV/ldcFKwk4syUxKA3C7Rs7gwaXhxZmRvpTJCDSP2p7ar74h3YnW+K9yue0C36pBz5ISaFVUyIUyDt5/L2RBjPKD9uF+PWe5T1uxv11GkaYAmcjaOWlSUefKDizbenW7jVxbYAfnv3qQUfTvo1v1OBmpeKWIfOm32jYRwsaO0B7G2Lt6kvmlCdiAC+yYTk41TrSDPVMtVJ2AsjHromQsxTU0AEpbzDF2P3pmvv61Lbw9NAV2D8VnBNdQdsp8TgCP9bE+Sjp2M1xE3YRhH64IXA1mr4GgAf1kMdHO6snHSIvxoitumvpibMgOT7AuV68TyojmUCpIs6r54OOHFSMJVxLkqr27rlWtm8AwjckV5G2diE8Ki9pYqE4DAZ/Z+4IQ/3ZmBLbqxckIyflsxkITjJuKwMRcG0PeRh3ssXCrm2LI+Q+mv5P7hbM6JG4XSZo0CZjsvCynTM6xrjekiDqdfZLcb6zGc0YkYF/xDORymWHjgPUz8PnsOgQaAmbkAmTbEy5ESjs9NH4+tOM9utCIhgLRFL4JabtSstAdw15JorSwyQdu8U/6Z8FFwE6hSAnbrHlTOsmFcOcKQpF10GJ66qcHR9IHL0cyH6QCGX9BCWCThNcSZ37sGefKfhGytUatT5ISkL/JL7o5KCs1B0u18D+6hfwr89c3Btjkj3KWCCDBwFZ1w+Tbpfl5lMV9kYrfYrOYRrGtYhSPMEU/Fe3sK7T5KhnOdgFfjZ3g1IqaabPWehS473FtSsWyQNc8dnFQcdP4/qnP/qM2wUHIcXNCax5Wk/WYRBEhz9eN9oNYaosuGCNWhVGox0GcR5VUIgaw70P7R5V1eQRUVhWiwUus7ExaT/pm50QOQgQsxm+OWKP1bIrK29H5u7LutIVS9Lr7qZb7E2+EOuAjZ6EW64hNInRFBQI6qihDs05zo6nhEDb+mQQQKrebVKTwfHCyP6gNqTAO3UvBP7GA0bcrfS4Y9XR6dFHT6lE3NsLscNe5weEos4hNU1OJ2Bg3w+6gTEmtcE/8fb74XllSKi+dOHxhdENtDf6tM1nudSiJmtbrXA82yoebjGKZ+BDrWJcyif9b4XPjMSX+pmHt8wKOI2IlA6NUMGWc6KfcNRI4kQoiYxZjCGYYKtgS0wVUzlg/F4KH5ACNTgRCNLaRqaCmvcZhEt5YQ23qNJ+XcY6bC+aPPRRzoVVzB/Auzh4Boh3+khGIaPQZLWdrYUjJogNuppgCj5cgVmSjsZnhYR++qZA516eNkyB0Y3nrBLQ/Y/WDAwDhe3+UNcur5xiovXR+9JF8nZGIkCNBf8yY9Zo2T1ngeuvTLTI8eCE+NmwMYSSepZDYMinxDmaFXzpeZEMONKzDCcBNSO8Jm9GyIFQKVt1ZFT+RAuySbOIU1yGlJlqvly0xsf2DmxLl/0LcZ5e6V3jqX+/Qc6p12iMJbysrxWgxVukRC8WJ4iE3NMsgE8Jm0HM9/On1KoF24Fu4/5PeL7ap73A/3GAM2upTi9YmPjogzmSR9f7yzfgd8Via/jn7uDzrwI/eJAzBgYjhtjimh7pMJLixclbwKSth/1owZoYXGFqsqAbjmMbx+L3vcxnde1cBhzsV2baUvil0NSG09MF2nhVgVTCI1hk7YGQ/rB5ENgjdHCBn9x2pWz9v7HDK1cXIdMK8zrSuDQBIXGRB+BchAnZxFR1tZHqVhB/NakfzO8BfFbj2kNiYXPnrl+3i51I3Ihe+RtK9NUOz+AP9zjY0CP954SjF9BkSiJo5gD9ekgx/XUT9AUiD/+8HlnM/VEt7DEuZ/RkhOUrFFZkY+MtJOIXccMZoPJx3smJ1b77bl+m48sGi9dceV3ntCrlxjd5qBbPic+S6rJBEalErdkEJ3PhbDEKoCXjcDl7aoXtoeTvsYZo+aA3iJMQPnv8QnXbb/qJZrQ/5Z5GQhhIJ+LH2RPbWHEl5hlGp5nyfE8xpYACWyjgKqc70fTLF9DdP27w4ZcsgXehIS7/Tr9CJUWH86qPi19UD/SPZYEIepibY8oB7haAuhC4GwZFRO1WNP93nizYTNmKjhwF8gVsd7PH9ftlQLkuRf6WMq35l6KkTSkH45jYR43BHuCJVsos2zAZ2jVbcsoCcZj1JVahAPJ/tfB1icyCsPpIhSZuqe8fr/fRkrVTnqAJI7uVDYJl8a3LdzwGhWnfH2ePF3KMRrpDHJYL89FnxNDupq/oizD1hM1l/LK7e7QR24kLZRuSlPI81J9bYNNMx2uc7kUeRMhYLcFCI413k7pq3Wmq0i5iL1p4aeWY+tqpFKKp6D30D+dfBpondn4xZq+RRBK6U0zn9BqLu9fv8JJSQ+wr9DQi8IZZZACo+L67im+c9Bb7mO0gIFvuxjgc4MjAEyGd8NuXHG+8K65dy5U+NSVPQUD9IOUSDXab4lgO8lcWkRs3LlZqQfvLIcGnZy/rkqMnudrd8t5b7GBkHnmwW9UDVCra10AMCOF/RYSsfMewz3nnd/QC9c+TSi4n6M6JwDS5v5/WsS6M/BQSZbGXl4a6dGUAhXFYII1ceLBmWwdSt4IwP+/Cj1J+3e4vHZgofaDe7CwYokZK5fFUcBYW4yRsg4CEBoAwzI3KQF5+BuzTigDdg3vMNq6QeBYho21dO9QgM5KbkQZSBzM8Zb5HFQZ4690fO0NUFXxTkz+EEVA9C67S2rcppISl/VpmLd51OAbB0+KdqqfcTh3k0TTqx/XKFyv0wc2Ect0aAR/UdPWVi5d6z0LMg2xVp3TpirQ9IrDYGTWJcIpQP8MbmRnhvgZ3dJMT7JzCfy2LJIvHNg/x1diqeXo4yaHmZvjFKAIm2ip8DPwwAXrBO/8L5YwGcExn8RnaR7qY1os+vHW/5PD08wVyIaEZp7+56TpJg/qELUg+5lDxWQKuNelMgyGKfojJ1+/yuErvA9HSoaxmbhBAyhqmQ3Ql9y9v2bYn/bK+YUc7yisW1Z5vO6VmYz9vItL8/8eBl/KTCZeqk0s4Mphsjwn/f6LYGKM8eLW9ifgg1L1rZrO+V87/zgTqYnpJZA4Qt9F1pMfqnLFxUImVHUCRegQdU74iXW1kSezNPv3638ZnR992qUGseQyXZKMcCG2f3CAg+QFcLACXfB64g7JzQacsWtzdg7Y17UnVAWcmDQbVMQbpw+upJ1hYba7EpcMuTrpgmvOQtICXxzfVhkhkud+nwLTon4e2RZyao0wDye9ZbtvsdlMSKB2kHygOy5A176RBxNVzM0vOoVgcKiETZaFXpT12GNFq14Pkay79eTo8JWvbJZmPWjyLRpaJMLwhE9N8R23ftPfmu2jhHkktV9B5QJEthd+giP1I5snR4bEC1u6vbGHic37v0mgIvIIPHirq2L6VRAUtI83gW6Y6q+4FUt1zfQV7jGJ8L5dETGx5fFd/7rvXdyc5StjyKTkzTdyIj0Oh2tJRE4bmNuMVOV+WbkF4cB4M5+srx1CV0ZaKCZ1GMtT5Ops9DG9w/5fB/wOnRf/TPsfmaydPNCUqPrqqNsv7Gks1AEMt62CAnE8iYNtQoHwC66JG1Jle0rawOYtjP7N0Ouoj1mVsRrsZcHE8nnO9fNzZulGYytzloelFg9fKWppS+g8uzUnt9iOiBR6sY4GnQdp5ViSP0bHlWl5JpZfWFjP9wUJBL08alkrmt70UrITq3OoKMeDds0L0jGOewJu0fnzm78NSndl7whXX9q2lbJlv0O5fj+IediqRIa+3DAD0jAV/M2i23pl2y+Vy9mhs9VqPXLluV842ycAPC3W93u7s088q7pI9gXAc0IwtjPOXlX5YH0EqsdLpVjw3n2PIrCsM/0EAubpL/0ZNbWS09YppBV+DqGu5feKfGLnMP7qZ9wcPb3xUNU4R7UdQXQU2cO5l7JPizRS4dIj/EJ/6cKJDDdcFReNC979Y0EXH2miF/Y3sLucs46bQDqF/+vZDgLFb/tH1/J/rByTRAAIxH4fqJqhbk/a9RjRz7q8nO40enrLBZ+Rt68RWgwKmi7vavOVfUm/7CgayhyFjolysgSPciE1+Oxq+1J/HFUmqn+WJd7LyToNiUrg9NTZ/vr/XDJKLkSjOAtxF5OS+hJxR3E79W/Oh+Wmpr0rXsJn9IrpIPCe9BX0JGbL+OcixoJ1mm1U9lPt+rN0aiV+f3/CT2VUkffY+br4C7N2wGAV+Cl9+yLtHZV7TvjEqOa0c0khz78qDh+rHSVGbkVuo4ctlXOIUgr6uzDG+pBlHqH2A5D5KY9fImypnTKXWrKM0dcbDz7d4olaWwY7RySgrPz/wjS5BLV9Iq51dZJAijg7xPPxF5FPdDzWx6O69jODCgSC8FNhbhRiwnvlWxGo+OlvqA0ZDy+AFNBuFVvexc+CYeEnuZfQUyM0JMSXB1/ir6OaBcqyD5ygBQNOBiFNCfVl4b0PHxRC3dYaQI99hAUFT/yVv+OKKbhDTE0YcsVhOX0bLS2ATKlHJ6esQGtwgd+Op63Rhn+Wgq4iocivqD8QNYUIhnRgEXDgi65ukTlccLHgSSGSrES4B7vftLeXqz2e1tqFbnH9Xcnl0oxi5ehMs82sHu0+FQFXEyPf1v3dBln1iM2VCiHzleiIb7GmH4cPKhe1a2Ms+38niG5xPQkLcRBVjB+ynbicdGdjdR+lMh8BZvOLJvw1xlfzEUL6vEw7nQfPBerO37zlIuy3F0UBS3MBb6cdNIZ9NFrzwc/IKhoaod1QiWy8XceSd+rzE156SNtImhUw4xpZyO4fCtc8Uu/qMiM7IQZI4p6FEaPMlJIMD5oORVXHEAf5tG8LI1fp35hCDE4vaGavIbJuPn7RzscRGyxe3mYlNvJovrNRBojJJ8vpB9b2yehR2MLBXQt55tM4DeN+md6QsVvNcOGXRW++iX6lJhIeIvGeaq3hEX3Quhl7dHpKNFT9gIdtyQJysHulXTzDhZoDP5djmCkSuBAE3Av76O4drwxsqkLeDaG+fj23LYwiq+i30m+w+Blxl5OTwt450lrW+l3HfvYUyr+jiTi8VtelWS6aJhNgf/U6tJZQ1rI7cEGPzbY6ppGjM9lOaPaynxIz3BiMUmXdJo/K85PM37rXZiu2yz4VtnHS0BTTDMiBewV0phGv5XxhW+dPVGKkrt0UppfwLrJW3gTw1qPP59fEZhqWp2aoKfGl5MIql8lfqIFNl6WV7an40AIU/33u+xya7rmNkBxuJXZUOkUt0QW2/TsKU5CeIJ77Ywa41hn+F89ZXQ2aAtsKLPm0lVlvaSD5430QhStXQegal6B98z3ujjGY3MHAMBy1YMWolNwGkJlgUtEv5r4bZNnB88cBiXGSylXLkq4OUaK5YHqd8yqYvLwYhBJmqaUIWaqHc2z0q/jb9TVbu47fN7oBsK3TZFyGF43b0hH6L4UzrjGEKCfm2AHFpdfiris8x8CiAhrkmqMLpsrhLUwrUwldrfxSEEy6XkOp2PelFXJw2oBX+MIJ386DwumY8TP1HAvWMVLoRhTvoT2qRy0aOtlUuZ0be8TVcAMKDotcj1nEcYb1wk+6RpOYHJbt1zPntSxn4Nmy2IjTUKvChc9scLzUzsfEVDiOCy02I1WFuh+ngoWAuIQLthe6vBxpncVHU7bwBhxlkbZVe+cxC90dcDSJ39hSEQYd+NiZgydLS+LO92Ng8UtYgEPrtNweUN5DGZr3L46tfCSrEQ3cJ85ouXiWF0hD0t9tNk4L32KIEtm08JILLjJGR2NAb6vMgSu73aLGFKvX+d8YJVr6HS7wNTowSD6Rakwe9HuGVVpATKRg/R67lmocyDbGNAmWi8tutaNIJFn/ImrD/6mciU2S6eO56Bq/5o5ptW8EaQepFz13Ai1KUr8A0+z7zjbW2TOZ4vb4nXqLSgbME8nWGA/XZvu2i/3BWaXw19SKrA7w4Cs3xXWQVbKZEF3w4lcwe4MGvvQQf4m37qd5uYu1CD1j7+znqF7XdpRjz0gogxiGDJQfOVpf7D1RfbVVJk66LYIkl0+TkwTHNn3y9HWd3OxyqLXpnQGNrIrSWxbe4JLIDe48923K8xadzDdp3oXgj3SuMuuL6AcxRUPd6Kjr4B/aMlw7iQGPXaLFxcczwpdMhmbQfWg0+E3m+i/Atek62Sw9Vw+XxXtvETNSlTMoRsTpJrtWkPTUiemMS2k7JUNWl0hGq3jDr8iXq7O1JDLTzpbpGN/hMHe8RGoiFimUmvcm2AjYbnAxqnSuPMRNJGic8+x84i/p66YB8BuNMIU6kpbbYj8fLR72FRlRiIYOfZqxiRU/qoK1whdkITQvoPquwi2hTWoNs47TM4x++YdghxT1TsAKKnf2HouLzH9PwpPGGARQpQMeBI1o6R9kGM6btmbPgj6Ais1sUf90Cy59MFd56SAXzZcRjQFctvfO8sTxEY5MwbjWxaHNhqcJcGGUptwaaLXqQ+lcWS2MUtpj/eD60cUBOGbjTikQ+w2YtSwchlUaGLm6pCZvgcueRsCALX99yOG4+NX4FSBerSbMmFIStZBn4sZ/qdWfKtLbPVJtVcj6nThWQl1s4ut7QkY01X7n/rZIqjyrClPOn5TXn6L9yqHWxv8u9vN6UObJCyCwIONQSZddjLXXGrUNQJMugFhpIzx6KMjgKdfZywGDZShqqKCoHFD+WuafiqaaebOitOwRrU1dczqDNfqCBJtnAYnzJMx1DDWHq3X4jq0L9ses4m9yA5F2HrBeGv5gXhpcB9d2f8VGTQPsvcfnhwekGD0+uElVJk/4lH34frg5KNhVTcOC2kliVizimCi9HMKTbKCMc+5/DOfUEafdfKJG2VrLJiX1c/Wmm6CJba2oIbe1SUU6QFdFWJ56i7uFgZQmLoltH/3p6Oq3afkazs7eZEYU4Ucr5OULUprMqfA9qpM9SYceegSSTqKOCdrtEa45pWbeFGZB2vM/bCUZxr0VrmVlfkTxEmR67snlZPgQ7STmExvwxSfDamO55RyhwmEH5fMc0pBNEIfbZjFhKkI/RQ75NCv4IGIlMOmTYTt84Lgw2BjiM03o+GkLnVlFKtzH/cmKC8lQJxfCU+1zR6FN6ZgDL8vBT2pkgYELBXZ4Tu2KMc9XBzR4ISOFi3TxkmsDLSOvusE2THI3F32xkXmvzmba2RLMU9q3HHeADKA/RPtg+GDyJ8RRcomMaUm6i+v0HSuIC5WawZXvm03aykUPuPfWa9HOx5Nqok7mD62rHiFaLeZ0rVkM+chRMpLK5YWkQnOPll9qUCfx7nSLKLd3A0WusrEo2V3FB8kQWY5uHIDz9aFxpX5s46bdpESdFM7oXyAM+zQp8/wIZzRHrglduNlHQQZl/rvXkCToP2APYGqgrdoR6EEBYvTRKAqk7USVvxgxWD3dKWjYH4jXkDRY/FxugcYRb7Z49CSbvjns+9mArHGD+wG+iAC0UuCNOPF9cfzuh+da3rfbnerbJ+YRveBDWIvOzBSl79tIIKXjevjN/hP4BKR3z6x52qwwRXWNJwQboWt85KLyrhz667uZGVN8hrgk9ckhob9yRO58jdSrnLEV17Hyhf+MqSAy7C7YbXBfan26Y91yVqxQEzjUr2pdzSjMabkI89LtTA/MZKoU1xfS8oRzIlWIpyKCjck0+A8vhRvnnw0nxZM9kaEkN6wjoIsEC/ynRsa/Fk7CyXf3XUpLKhedIYvfOENdLUsScuqx4ZXkXRqNP1PfaBVmhjpnlCP0AQ66LmAVryeabtRLXkEnUa1NYceEzQJ3ecFFy+SPuM3y7KOSr+aUC3y/QIjOdEekTiyyMYo08wpe8f+Kv6qDlaiuvV8uVpamJVsh7fqXzrD7HlDUdowFdMt2bf++mvU1qq7KfY+dbervVQV0xaFkHf0A5ExRzuXbzLCJW9i6Q/Kb0V2/Z+JLYQx1f5WhpNIKEJYb+oQNJlKHXKqwDBsry/DXWbG2yK1NsXVt9dsSa2sPOvwTo/6XJ7zbVXxeFL8KuJ2ckdDTOSvTVp28m9FeiWUllbQe1c286wfcPkiyvVMpM2sIJyCb6srzfq/pAPBz53AtTT2Y2MfSZvi6z6ShZtuttmi/CaSyj6mnCVUrVSg52DjHqtcDcGZQufndJWlDQLEwA58eh2zMKemhscslVrGmJgXXdeX657Qw4WcWWovtR+L1h+vuoV0SB4FNwJrlnC5R4MpY2AOCD4CQSnIG8qCtOYKBNVq2InPoAJcQysJ7x6tLfT01fD6p0EMqC9OA92E8HRdgZVnapm/OiX5i1nAvad4zamtWz6TzzV/czvVPBu3w4pRrB4P33oY21omsjDU+9oaroHDeCyf+Kmrs9LZHscHVg+J+ZcQDQkfRAoNBcg2eSPKmnwV+XFnmK3b/JE8ZiyaLzhXw6a4dMlPil2F+Rt9eqewT5gM7KE4D0danE6p5z8wwGEXj+VtkpyyeaFR6MjXKmpsfThhEyu4bfp/6MY3ymTzejNiaR7PvsEq9LLE/JmrsExu/4VhpMeMQgzhiagpPUFIm+m/PRPAjm/AswWgZLnI7i9n2ZxQLyimtSOy9W+o2bq6tP0+0afVbEFaR4KOeBb/KEEJj8Zn9ycXKH5VZC0b//8sKKdz1bnmji/Z1ak2dwQdaxML6LD1rV27BGsr+auyWBSANDNwZPAjOxRGFJEpJ6zrFm/MWywNXD8714/w90zqJ8ahJXQtH8bgDcPIxeAXVEpbUeauCsVAs0VcnYzQmgjH5MUdLH33LLty0p4YDvSHy9l8LwpeNQ2afHMTqJdXoPA2LXL0WBeqMkSE6usV3yu595CA9HKX4QHVu9cijWJIDlSZbNe3SyMDBPAX106MEcaUI1M4qc4ciULTeZC3uuqI9IqE+OdSWE8oWQs9dZeDPIl77UcOnCfNQsvLSKUmzghRtR4j0uNEygvtChFHvZRlDHiBalhWkksUNVlS+4xkQmMwAFxxtWUs4wosL6P0nrQ+X2G1Paf2gWCaWphGqdjoLfqIWp8TIoMEFpEWRXRgH/ehimG9BS9yJOSNrAQgXZEt/RtbRY2UZntBrpHZNR25+5wNEwzFbCi4JKVjYSEA8aCRCFKd8rbrVTvOTEm6GPY+Cs540UIxqbvkBbu6CcQ7ERA+5S0g58zORx3B8BVr/hcShyBK/ZYmDU/25gplMnCq6G2nzqS5JavDDtWzfingZIxWEzKrB/GuGsSkMCkZdyLCoR/roYGcO8Vl749N3Rlc4JRbrqH9W8bWHs5lXYzfjYdamoOFCb+DdysuUyLqPf0HiIoPM3D4uiXnIQqYgjK0TDr79Dz2gygPkqzieAU8U7/CgAj3gOksUnNfjKS/lUYMOBGXQRXxOdcF8nr0CCuKaz3On/XXWFn/PmiZl7r/C8Htw4aHakI7CNqXffX409bMK7Qr7viyW9+aWIrdYt9xfpr1PexsDE39fClivgg/NjrlczfWXHm47JduP1H2bxxpcEhdsnhffEeBdAOqscTaWQkLM+k9PGzLGTqdmTrMB4ExTCyek6702Wow1vJsps/qqldy53b8Flt7dURGZW76mGe+vn/I+T9Msd/xqLqhA9HfLhWD+X/kjQH2pNSmOL9MHhMYAoGebG3kB1I5lCZNC1yLXTkyj8lWi46EV7Ql8geZm+SAfA/Sdp4J+MsSbD7h94lJj7JcsplYCKEEzq225aQfbS0muzmLvs9L2KJI7l/QwclvnZLiAhjdolcP2OIcB3zA7rOdUTaQJMzzxcnLCmJL5Lrr5ONQX3e+YZw3n+6WJrxnbNCOkyoH696UbhsQGo5oN2CfwVnD5ysFI2bV0G6DhHWmYTbzA6C6hUqR/wxjGVkel6OONy6L3fbYlskgVIvfYEeLUP/+pAmhx246pJWt/ty0oPcNVT5h4Z4PT6nwfM+sXsdCWgE5CvEeoDJ58AhBy+2nPTIQTyO/cZiKK90qyL/sBgi53R2sjedDh/SjTkDcbgxGdz6AG6dWSKq79wuN/ZWExUNYojpNDU/1PN69AnICOwJ1MkQBVEOCKuNTbooxnWA1IOZR8wq2V6Z2Xbtq5U2fIaJ/oosdeRDUj4H9drgzQ747ykmc6ZN1xZJDESiywYT7cyFYiW9jx3TqbvPWphGZcjPyaryibYnRPzwv3kKRgeoUW9fjO3kkD116efrx/pBIjn5dUQlDtM4QxomZ2BLMns8h1iKvRlkOgYyzx/NlRGDMim8B43vgVkTH4MxouOSkyCvP6WJpu2V+uhGWE/fTh5er2ojwZv8UOaZa9bBRVTco1BgAVZ88OkSSJ4wzv1vQeJX65XXGmkh4eyXpUnw2shnrg6yi4vJP8odv6MLzqqzeH/hJ9ci2TAYFiN1Ve9TAMcKn3oJpkoWZHcwAnxpIMbGEhwuPaYjwDlC0/PX1y6gIYYQ5TxznezcBgtnwPYUoesb2uczVIW1aUO8hzYTojszGLWefODCzcqwrHIr0KxVBi2baRG+OGMDJpGC0wE7UzZgU0BJ0EBN6aH2XR5Jhu6HOEBiJLH3usJjEOpAejjCByzSXOUf5QpZh7bIhsbqsEg5488I3bwVyHete2ZoaOdii8flKuPq0eC76krLOaFAjyXi5uLTumrpjoo3jSHtyZ2dEdu6ulSwPhrQStHiMAcaaf381iUZPR1bhboii64Vojj/QLK7qB/v9tGAqGogli8oVdzXWl+hjsymt747k2XlGRFcyScTVdpWhpJJu/86yR7iKgXUpvrA9N+bTRV8hTugbJGmDwqtOcwt29q1XZNEZqPtaEFt9seF6gyzRBe4nWqgSTTVSwanUioj5NNwQAS3TX28Zwqs+ZVjwLOHyNF0RNz94u51Jo3uiGzcI7KRDf1FMzYmpER4h0EHRvLHQ65uI7dKCfXLbyO4y1C9ss3XeG/xr7LDTi6+6xTa3RcANDeqaClLB2pQ7FhP60l2lnzmr7f5avE+c1jVRb6i4SXaaUVVLYBgR5T74ZjEJVFyTruW4kbH+UkrS1P01etLoroQgMH3Aeeviq64mgOPU6kNKGBm24PJXdQeqMMjN51vvG9h8tHCcz9+f0Kq43kTR3lpxm3+HZ0IeqsXSgpfmta0ihBeZy9DJ1oXDV5ChEqRvmYGatKf63HEYfTnt9cNPV7xX5T1u2k+xtrDY82y0u1JQUVyMs4W0sqti0gUUlNdvWxvU7kQGi9RSlfx+tzJHIPVBlG5oSl1Osx41gquSvrYrluBkFZHnhLWONlmHl3TP+SfCsSXymVHLlXu4movKTc2c/c0P2zxD6NH0K3ysNqulOOPOBgmFxov01a8+jH27vRF2MZ/oXNGtcI6/WjGlk7LK6QL6QxUDwW35q94+ItF8P+Ujy2DQmTqSuoHgOC29pQE2lFWxK3Wlf1FBWJyV4Lh43pPg8qb8lOf+f4Qsz8xJTq1x2vE4mwiC7FbpGtdsOMzkt4DoFJmPCctYIgbCLlFX79kb/UID1DZTEWDBOinSwosGdcoFIc07ORNhcLRN1qdaiWPU71NMTYkY/IO0BzruYXO2a83s5exvOpGZW5ICwa95l6IDRz9Y6MJDgqGVWiOOLSh8uDOK2Ia8sM1vTtyb4ric18KBC9Nmsmz7xdMNQsbLA4HrOsQoqU2JePRJTKad06zSco7nJKHkVCiX1pAhun9BkqWvBXBcX3yMDyFdvF3ig4aBaWa3axYfJVCK3f0lrKbn9JaoPqQEKI48uQ7IsWHZftm+zbvKHbQ8Ee6YHYBKtHItO3RUHnmjikP88nybJYE84UALbHOKkOXwIoIqhrY2LQDdX9xxEBfA21TPG+JV3Af368fK0curtur/VSnQfkXV73dvcmwL+Nj9UOaFkaNaFbeZ4WFnPyk79d0K7l8q3zUBbIn1x7Pl4flex+LlmKYLrpYLbzciWmzeU3Eo9OuJGFnb20WZXH+oVTYTdyipHyymLiwlWRbGOoVIIqAKw+VNvAQX6ugON1EP8czWpTLMCQvfGR1/HHDm+aK3f5vLqKzqb3JKs2tc03OyXTjJyAgg3liT59PucJBvD/YifuTFz2h9Sre3aY79XJCKYzfRtJbh7LHkQ0KjvNHxAdfaB42Bm4nsHB57pYK5LIZryKL3JIa9sSfbpzfAqdJxlHxapuQn0yws2K1cGWwH4ZMA5Ld8dnoXnUEMjy+IQTuusPiivTom6pFpkAb45I+LhCgTfmuxRuBFbUHIxisRrJPmdJegR0RJDeWUHG/GdCouOWlqYxxuor7swnvWIZfRb4cMA2irn2kj0Cxr8gR2CbLHttCY9MjsNlfSD/iQgMZPcAMrGjY/TxkPbCYOqIoBKBJEe9teeiQtBu5DPEG6Ei4p93Ujw7/bbIALOKq30L6e2rlSxyISZeX3Fkr3EDnsJA3PUJsDm0jY6GnlKpnbPJItoDWfcu+Mu43j1SusHXin/PxzlCMOAA+OlInwJliz1r93e5dDl/x72p+Y8Mku8GuaHH1oM4o4v7puufY5frOtW2vrgxFpMw+XNIzEe4b05aQl/qe4fNL/kdjCZPFC2UTM5+7j11UVU/LxX9wsqScO/IT/c7VQot7hKXtmk76kfmUdjV3KzJNw2qq2tpPt47FE3ZdMh/lPYugIKzw+tPRU7vKJmhP7HaxPKUIz5Rq+628auLEA2yKMgPYk3ZgROsNy8/BqE6uQLeO0c1bzKkvHCqrlLuprUGMVay2TR08WV9m47sK7sXDZqI03Cte4rhMHkHwaSOqp0gXzEJ819Imggdq9Wgc3ZnP1y1SLavSHBIAdxjFOktS88XFbz5prRHYauYmQo8DSHjNpN9japxC+7bFFWO5wFFs8Rdc6jeVhLEAmOtlRiS3qAYWyGYnOXJ5C99Wpu2BzU3wmCwThZ922ri+P38ChlAyrEZx0x0lGrENwYauHJEH4JTiHVJawqKzt3LgJvskNWlURbloO7qV+1RGFx054rCf++CFZvZzWgd0oOQ+EKpgrc/0wpusMlm+3KYCom+bWHTM+WhItpHU0KcEtubuxwfee10IcSRTt5jusyBR+8Cljwmqa5g8+lQiUL+xx+4eiDMJ+32CCRhD5g6VFUEh4+VBCphszL5r9czmii6vvvrBkJ8Gmwi6VSDs6H+o1GdeSllbuxTtfEp+KCYL4v/HDGxNSgg6PoNiikbvABnel3W9r8NwveR4LhGFkiQOQ07ouU++3R/5Myo8uzURSReIBi20Du9AMmGtv19766oyrrjppoGaQAkwammdRObur7MjM8muKETBFvmNHvaYWpmsOHkkqnG1CyLjlush4fZ0YRJKrqHDzmzaCBsWMeZ4nhORY4dMaYChSozmBt9oFVYGCVp1v5LZzEd2u7cofMOCAm4O6ezxukNkN+dTgTj9cWOo8Be5etCaxJts10cDoZPErMg9Lc0Kacam/7Mtr7RCaPK/pG+kp+L009RpYVgVUjmol3XIInsnkbBn9qpuE6pGAuz/AjGIoHi5EJBb1CYy5/TbCaAsVcB05QKdquc4fLuBt1ulS4nvQbT90N2OlYrXZkg270OvpWQapHA0OmAZi3C64i6Coq0bmLlf7bZ+kefouVx1/VwTElhWtL4iEGTprB0qm0DJfFlSMulbw1isItbjvAOy2isdlzu/DdILaNIDEJAtreN4MFMjUSsfOj6VY7HQMBmUAMl4ZzrNZF4jJ/i4of9yKLbChh31H9CZAiDRQnnDC9Lt2C0e4cuFBKI9TQG6ovPIJMdDPMEE9O3uhDSNZGfFyYIdVYGNbbaCQUUdhNQYfDkbR5oMjUqL1hTtsc2/gahiGiFt4aNnZKEovqdbY/3h3xYj5D3uakHqsiolZLC7KfmvXEw3nVZN2o4lAQNYcOZXVm5ah9QBQtWKBGqNDlJ002H1XiemUz/zIRJn5e7HEvv9AGGjOVEYiDt/2V0mTHMG84fb6Lzci11oP5devKUguPrLElNnW9jkAxdkcV4dIrHaYnOUXfmEHTuaX61IDqyiUXnsQYqU9k21ClUWNa5kjci1Ga7+fswvQR8cpinGo+yeac0gtuwb/mPsgjDUUR4qKxWfN69N6p4873J/DtwJuAy2PPJdxczqdvb6cUlB5JGaTGVpIeTyGts2sT4h3kpe5cegjf+sMcrJY1vXhQNqPna2fTYcWf6jiFPVyhIM8ra9I5B9EEF2jPjLkclGtmXtAKIWCBf9KEdUnLVxGVBTiwsn/2uGC/Wyg6PfBDquvbx0Cpdru0d3bKxp54E3BWpACz926xL8oWJLQ82dRg5ioEYLs189RLjMmfLN4JtLIHeKa7XHZ9AdkzbHTGBlcU6Zl9fruGrbq7R6mtie3s2kjL0Thpyb9QztvbWXVNRPvqKi4fShQlhtY9Mo3Hbbk9CVEyyPfYrPB+iOe+peaFKOQMPusCqe4k9j/ufUNaFdW/H2oRyouQBXPFZo8m0NYbhkOON1p4nIL+jR0VuAVk23TaZvB52w+xMIDgRAmEncAKv1rVwlSaNjg3RXP7a6nK7n9CTb4oAOwmuNZyV/DYhGxbLDfkIqNLK9ISpEBGfZdt3GjnvvjT0/gwC3f8Y4EhujO8l+U4cnQeA+6kjm0vdft9BOA68X/9ZQKiE6KAcafJOzzGOUrwe41jFbt2H/j9O5jicRz91RgfvEXTVH/zDnsIK0992GzzKw6+oYpM+wVGkD89RO0PkLzKPsq73gcTXK1DKMj2hrHd1/hOcMPTt6Ub3OPKq4OuKIi2Yia1Qiae1jt7Qu1RqCGRV/OIezjlHrdOU3MpU8j7p6VWZdBMQpiCeu4+Fjj4v5UwUS9vyjuCxCCP9GGDLuqichXdcptyRgJaHf8/QuXKxl8Tv+hiUalTjvZ6rLmfxcAlRZoID3x87M67n4Qh6G6DIuQrEPUDP7bX3wecrqH1CTuB9KZKe9f5Ha7/hJSrbP+eoSaNijUwmhL9KmBnFM7b6T1e1gdWTCDg2kK3L6Waq4b+olj+40lRYdV+DMxYnG6OlljTCDSbWdhYjZU7kQx1YZOSf1ls6TrpyroOPZyYeQk6Ucdgx1XXw0oVi8v3HVhsq+ko4tsO1pcylPAOnvGbRkNwHdtiXMVKgsb/Cj8LSpN9034ex1UPh+43rGrjPCrp8cEVV/qU7z2Po75V01g4BiYTOXuH1u4tAdVgJlRJ46AFF+MjG8cX0LqUIa3ckbdeqihBoc+jX11JlnbmHUebYkoP5Pdg0GHxtQWNBZfINnT8IkSZeFUMkB40OPwBHVCNhN+ZuAmtF+WKNHzcgcYFFnng2Si1DzlQJGRiNP+rRaCOOixLsaH4ERdNKZtIGD3BAB4iitiAuGOzqCceVMWcVkSvSgDgWkzhj3bFxNzRytoIqBNjGxLm/sljoppQs0QwvdGL3pfxKv4TItYmhEjkOKl+F/15qJ0NjkzqdBrj/WgsY4gEyHYTeD+SudMX58yeo3N9KZEnuYYDYBL+lcnGZaHsTyxf+SAH6GQLfbSE3Yd3pyDu+kgrAjWYdWtD7RdLxbNKF3U9uyraSjO6QwqGUtWAoTe2gn2TYjZucCMjN7j9OZVZpu77tYqWNJPaypGuwqLtkJvy+dNCCDW+dmESeP50Bcig9F6dLKWCWvqy0iikyju0hvetNYSN/duK7C2SjtTuaf5KdPXTwmZYr2HxipmzCeZ07uo34iFPXwTY8E/xhDBJav4ZPIb3d9Vy2KN0xSpCgZ5jRfA6N/RnQ3PrAa4nOE3ojL2IafglLyr2Y5PefRgE5bSKGHf6Z5qwUX0yw6YMqer3lbNu9r1Pc8vWg+ajkBkuyfBg3uJ08Myu7EnZ++uUPF5+cNDAKLANC98P8HDZf61ZV7SCsKbk7rXnXZ/cv+nSUzaJLjQON4Vxf+3rhN2szffUJVAYvqvR4Ct2K+IlEJ+VWHcOgjW0XBK2R/LPaI36/P9CXt6edC8VWB7t5YwKnIhV6U0YU8Cy1FbeYn8jhbdKvLHqKLHOJqe2luUz/0XIE5nhlFBgLXvorye7XB0KeRdta1T0fyNSsvfTt8ks1XHzcOvtnmsrFz5Fdvmnt71uUJcud/1W/Jb68h3tVej2E1YxyIX3g7Eo0Ku+LalXi0NKGHMMBCXkbQrC2QqYqg98HM7eyZReAgHyGkWNqKpVzu0WFvpRhIExISbxKs88yqY4p1Uy9PEdCe4c4cwigm2rpl8DfyujszVZU0J4LAA+PbsQ6uT3dV8llHuyQ0QPQm4gsoLwxAwi+xhzDnwxDMaKPVX/vODAuhnHs9tSoCgUlLSXmhR1O7mX6Rx8xuu0ahpbabE5JwU4msqQ0nd2HRaMaUyfMdu57AJGCO42cDM9VpZxbSFrAfbEjXzKqqot6aZlwzYpEAveLwdoYmx293pLutcfCPm9bQwanXjjY8zSjZWHPs18mCHuyQj09Aup+LYOJEPn3TZqTFjdVUN9aiuXIX2ZpaFdod9jhNUHYCgr1V8OSMMCD2PRYVLca7DbdfibS3ekZG9hX+WF5Mzpwp2AoFkGBdp5+LhL+2UcA/CTJ9G71KqnPY0TEgzUqn1hbK0uQ1JlduYLYAaKICqMNkFtUv4FIEeNjvtc7+CRy7/TWf7ldHThJ1ZrHX4jTDD+BNFjd88iXFILwQreHb+HNa7hv9vJ8SCVLRJWNn2rAiq6sTqc6vMOxDIWng6JTTgpGlzxd6GKfz1OXCrvklWHENUzsnFLWrfgjJc1qIrNZUD6+jHtviz7G6rT7kU4jyx0Z+UV4xoESufb41/89aDuy0fvd9JkHhThlnw8M6Ja2fMSSBpKYNgD9LsIdCCndOA1KlGunM6PTs4jzqgjo44dkHTc34m825rZVSxn5F4MKFLLz5Lo2Kraz+RD4pe8GAlpCxo6PSdVVFrN5UMPyis2D9WUny4w9ZhnPj9C9Cw3sJXu03AhX4V43FsI2R7BwLXml/NlQuZC8s56i/3TkVoTN9azobvoeY189Aqz2ZsMLnARpo3TBet807gsqL9mL03BFCZPOcxFilDTnqwDsHt5V7toGCvl4afsxWLnvqY37RK9gUiWWpRlUT+1rfhwPslq0pV40ID+zBm14wQWsfwy9dCUm7QkoT16nDk/xNVJVPrqzfIe4J85MegLN06S5eJ0ZqyLoDDCKRu1iAOuDq+e2/cZ5rZFn0zC1iK6p+8lG7J4+usX9znSh6eYK76BOB1LLqVKFr8cFj6J94hjdoGG9mwdBUHTalC4ERkY5m0WftPpZLnKIhowWFgUtWwyZlLZWhOQ5H9qGi0Vd7PaZfo/OnjF9WNnehck5q/qf9G5VD/4QV10N5jVh94ynL2s/ul37jiXDpFrBxKHMR2ERrNLFww2gIZ47mTRW+exk718mCENInXFD2MMhK6h8W6yCBnUK1UDEicGUjS/+zem5oiokuETrohOQwsa2hXK87LZwBkVT0BZzb+xDP8hi1qZlbj9xuAfFoA7oTecVUyHiV058tAYakpPlW7ce7uRCxNqDVNpb6jf2dM29Z8nuMhZV7jNZON5FnGpCMUwYrLFagm8G0rVnJtAR2UL4nyzKdD8cHo86GewVmTGwk9hcvrCFAZ0NejQC9tzTJU0fS57TWEo8KaE4eNZhaAJJeO1aWsBMOGlhdTMZvnJ+29EQQJtCUBr4tR7Ha72figYpeIXeBQeoB5HB4ZAvgIILBs2BLCF48Q95bpaHfN/6zFWaIMjV2+sEwmOWUf4e2wfye5B0AeYppjZhxPkk1qn9pQ/jAhjSixKXI//GNI3d0GptrmISZu7vOKvPZa3zqRzt7+2SYwulXVhYIWK6AEkSwOILJt/9jt3WKXDd5LPBshE4vYxVTCjqMJxv7D9TttorkljomTR247/AoDH3Ll3SCtC0UU0phxP+I4I02u7bBjzHziuPIWrne4bw0yzrVnUizWBA9mdrjUOfGksZBHAHxLLBpYNSvYD7JVH6WD/nqh2T0H/IjXIlg+Vqt0r7MbEYnllLr2zE1qpQAKiyOBwv7LX4tjwY0EfYgY0u9SC39cKdfP0e73jjl8rpLu8TMOJt7IBmEqdAHpCWaY5mk6zIn6JmwmZ3WHRmJ+sJqa7bLGGDfFVw7m4Kr/vvcvEc5a6H/lZ44LzW8aOXU3O2zCKuzU7rIx6S+UnzmzB5VV+yrpcRGxPd8rzRB1qO+ymTBMIOVN/BPGjqVz38Su9c4aK2MPDOaNmGoGCt7g96/AozqI6BiJ/NVoFYhnMUr9hlrGjqgXl4RPAgoTOZHPoXVxTzj5rx8yiqJWnkZlat1NwqoPQLknomaFgYAz/aB6f5e7NfBpzY0cFMyi8OSOPa+vYFZtipMpDziFjB2C+cxG8f3b85AQ8ed1uO+/raWwutx/zxq2kKlUdpN0FOxa3ippMxQXM5wHW4TTZEKdAML3CbP6QgMhEBOxkxGWWG9wHMq87/ZJzkZyGttPbVuylIol1C3NNBeADyVeaUd/7bkUsTiF4yiaymlgrvfBNSle2TrQIppMzz6vc1EOM96IsBZOsK6cJahKc5aDPq8eowfIx8ErARCgcU7IStU/wqsRCw21m+hlgz//2h8886LGC6rgDrwW8SYqDbMEDLTWm5lTniSbixQHIBV3FYON694iQN5p3VPn0btSMNmLG5xiVF+wHZm1tpLVr1nvcXglh+84L24EIDmoJPmcN3Gju2W8WuMUiy3OO0lG2q4DBxDGWGr0dRm0jMCNlCwCEneqz2zGkXrGT7RRKI5Q2NMD40dCLVFEcO0/iXKcNzEKOMc/P6xJEaFOncRNhyDqFxmsa3Ffbnoinbu5CTXbr8+luew7z4JCaFi/q22VH4fUOiTF4wVagjX7QLUO1AlDrQm6Xu62o9MuWoCgrFndTzVgUsPsj8vqlzyepGzUo7Rlwlt9jL+sxbmXFHgVu+QCXATGQYw/LkfEzAnTSfPw2294jK5GpMs04W7EQ+k9kDpXt249ab1XOKKcZcxc+l+OWLPCgNjoFMZ4oOfmtvu5kDQ0b1ko9WUC/0ugDAbqU3CY61a2D6OGxPbyV8l45VY2C8CXYwEywX1gHaSAt+/Q0ok9Gmue+ti71QU8cXYcStu211YJcGVxz7c8ZzHhnXiXnTTM4l/kmgCTJA9ItEjMPEGeBi+mt9K5QgKWzLI2iLnAXs96/9z2Biwf7y5xL6N/GHKeBZLXLQrq+CyTX7Lfu81Mfu02s9j/ycLFvcPMGOIapGceOCAeEpftcjMfADDO1XvpHaWIf7dnpBMeuOgcb/vA/+8Nbx9tgUqkpD3nzj8J598fIFoKIY+7nyHwDx6WSV1a3E94QND43pdD0SOh7ZKIF1w/hEgVOAJo/K2yyYyiX5m37LckJ3db3NX4Ui0CUOdSwwR2JQtmbSvbGIjeIxTiZ+puBpqTmTGm4VCM35ETNKw0+ybo7bJPbrpWByH8ZDgtQ10N2mif1Zonzb8dm1LIfD8Bu5Dv0gZemoGB7T2AzZBR/uF6/UQ6uEeROOVes5HzeN1AH6ph2tj9dzQaxFX8tK67UtxZzjoBxfCAAv6++po9jQq6Y7vl/aQEi6d/D33MdAEhNqyC5C8NLFa1wj5DA+DvHMfuSiNBcqavrqd/K/X9ovb7oELNLvuV30E9Z0GZ4LVtmNmDRm8KW2fRBOpV1Usqjtn+igT9AUYvbJSLmbXNu7wUuvOOgadplyZo9CLuTDRR0oDa99ZqgO+fBTykgAYbmF4+K+wqaXUlFngmnii2SqKLGIL3duRUxVT/ZAlWmi4AuDtGmwYqr4So9GYLNZw+DdTcNIt5UBpQPfmwqCt9nWxd+lDd5x6V4RPSi9IjSXF4pdm/cLCbT4R5xzT6zXVESq2ObFUwCG99fYfoTIBZZapFnqEfwL95c7icN4qurV4zZG42LcmQwe2lKBB76dHYS9K5SsHpEEU+eQW9rqNj0BPOmfiHG7gmnQ3iKg2dijfUE1Us9gu7qS47LHkEtyY6zWsaOQr+tuTQ5cCFtAoZ9zzAWEGFd910dfDGmvTJf9oCBOCNpC6qdtFEPc8UAVYAmaBn85zwNgxDPAEy6LMLsxvWmG7beIDNZ+YWzOJpkpybZa00Jmcn73bW2AmzVbKO2278JDf5wBmOuscJhNh40Nhl6F7qtI7D37qp8OkNVEOlfUwgVs3X0XgpVygjelUCvb9opiA6spzjSKeRmQ7VQjJ1/iU5EiPyIRijNs7ZlhayYkBInjz0S8cdFI2dgYSkBo0rjBMuEcv5ibIFFA3zvFOka3JPTaEjzTFLL2eWthzI/L8ZV15DBetKN+Due5tiYCimu1rwqzjsD+TN4Dq5NOTOr9pT8KebwW+/q72LARhAB1R4ng3Q5of+oPR+WbuL+zwXFE5quaKWqbfvZvCP3br8ni5vVsMk3hD2wD1FUI9KNwr9K4YL5OQc0DvBqSFFoyKDNbP6DkIgnRXI2DlPV2qEkj1UdsrZHzzFNJY05aFXtURLD1l+Ye36WqNC4rGSaliYyad8PnGQ7hIWPwtNbmpWsux8NnspSu+pAJF3vvYo2Yszj9Mcsb1DOhkYWgisWJQBPSL/KWKpXGIN2soand+MEql1XMIEtM1vyR36Ladiy/fD2/4R6C2pq+P0y+6zHn5eGgQ22fQ1vXck5+AHhdWCk+l0x+a3AZN7/jrODUOFV3ZA9jDKCRdQNv4xoGXBI5hNr1JXKpYaL9MVvGYu3ll44PNpsLAM5M7mZJM3sSHQL7eJCYif9plIhkntOvtIuQg8Iu5/E6Q3+Si64Wos6U+mxpEjDsd9CMPcLPsMlYjYuI3TIXzqQlC9gfoznMMS0XzNigU1tm4JfeP4EUNVtFgnoO8fAaUAbNg9SDOPoBQko9Y6BcvbTV6tC0dVaqZJA1Ob88M71SdM59D+M3UaL5gJ4kq+3qWjHLZhZLM9dtgVHeOou2tr0jnLC5mCeRws/wUJpaYxtUgygQoLHgqhE22poF3NHZYEALvCg7qaeqk0JQTmFTFsgFRgmeXDqRKjupVluuFszpHY98Q+0DJ84BSTtHWvi6f+vRiFC5ppDVDVQ03vNpan9Ku39Vd7BmQ+NZqX4ADfZUo+2311yygdJ2XVZReKQPwXNNoH3SgngXd+zh+82BhAUfo0LpSa6HkAwNwBmFk+43o/+kCj+L1C05XRolmD0EdcCUg0Q1LgHa07Xm5MEtF5KyQWb6qspkDmk45BAUL3HHNQyi8FAb2ClOIxzY2hW9IUxrbeuHlMwZ7ozC1WIBPA2it0OvJd928jGLMeg+cN8w/dzLfXP4CrxKAy7V1l2sHffJCJy2GAciBDecay3EbO44e8XGjj6M0jphfQ3I6f9sp7lqLw24d6JyP3+6UM+OXjWuYNsWku5H6AjnTGQtueKYwSbwzefKJi8trm/Faprh2ri+l3Kg1QvjngAXWNBvr1eIlvKyP3NInQpWOD7B2UMHnuYSZoB/8XL94UBtwG03VEmtmIennTBE+7DHxQGFiJ0fkQbkd+W+TF8O8NI1S3fqIvAYHLMez0fZpVmAFKwLIU9yPQ3zMCUEnJ2KjQd7zEV+rR+ImrNoJT1AGM14pXKpjqzwiyCXu9NkCN/dap0oREn848fvWrBw1Ur5qgfa33cgLqfy71HE2MLtirMDipiYbcGVOvWJhvV1aq9WkiK9HE0tdpMa1gblwgUcOd1MY7XTgkKWUX6nS2agCz+4BgUqp1mSsqhjEg3yG357qL5VlqYmCcNSmfeynGNY9kCHD5/B+WQrsXtSbxSs5XuFHlicg2AHdveXZnmYEmK1hJFt5or12iH559rQ8IOVjxhs2mwslvVYpvE5ZAgsyOCgMlsk0KGhacIRHeSJTF7gm/MQR5DI/H7qZBduIDTpxZnjzDZq6xXWBFIMLqnCnrXqd56arsvK5uFDItssqOY4y9/9RXrjyyBBRpn1We4jaicbtjmmFCoG5YrWkEmd6sM1VohmtsuE97YYZpiRZXd2tJRgSMAlsuZUBVT/kZr0a1AHajgbNh/9pHjE+IwRZw8aX/hbPkY2aRX2/lrV2b7wei4oBcgw1Ctzd5yjxyqLIIK3/TldrLR8/SLKdF5JxjrLp+kijpybccC5UG3lRvdRLUeKKBexE64v3Qyd4uHgTQI5GLRqW6DP7J/gipiwXOPtVvNcnLGFK8gNokov73TWoy8BMl8ZEkXTqjzcGSPYILiVIZ+a4yHDPkaO+RiwDUoLIsaI9OFRxGtNpTO0GgY46/8kxQOUVGlee+f1/zdJ/ttwtcq3HRoJGJMmzFWwQSSo2cfeAZMy3ta/FxX0zBvBFUVuthh7m4gt++BI2K912BBMaxRKCReJB7+aoCwMBY09JWtwH5iz6hY+jgRYOHm6k1OwDB9Kg8iwBkJuZtmHwrbzhf+Ph4qtsr2n4A4RQtEzYPyHfv1ggAiilGZI5Nc8xazK4tX8VzV1Hk/uZzzjFUlVz7AqREqaqQHs5fSZpHkfePdZxwShBqw533odNPDgKpAS3vQ2uA6oGNr+lU9Gtczcm136SsF9giqxjhfT8CDaOR38uZw9jsMwlWxsvBiGxS1I4uw+XVNz7WxWcTtb/HCtYXIERqBIPnlUiZNM0V4kkIt1Lw9DBi5sUQ1jD4qkgkFN0KznzxGe5PPSj5ZuIXBnBSoqGuoGFMsGmZmBgdPNn748a4QvjgsC8UEgVS8pqO1Gbzt9z4kMXR0Wr3wlTvT5sZ93EZPuokCi8sk6MM1DVqrHRrnhmfPS/cvYV1TkwHj3IvSmAsc++IJaGQDMP+qPHURxjfGaLpaT3mj4jajE6LZlgJFX6EXUG0iae1NAGpZBAu7AX1knnodyimsbmdFQMIma87Qfvm+NJ8owMwHJ1ZNvPqfjfAV1OFuJ7cBbO+VRXSaphV//3WucM3Ir2xg3AmDjJ0tu59lhKX9Xe2wBM9/wp4K9zBYJ7z6XQ+Aw3yrojCFrcRzDzqthgvZThxOk/4LJBEJvavMuCLMUo5s2X+eyZNYH94JCklvSDG88JZVdA+JBVbYzEfp/MXs97GeomKEbUEiwxKn/mH49ayzol5ns1k5t8xSgJZxHTcYJDe0SaAygeeh6JGFOugZG9OoJ8JzsyKKCy7I1ZI6PELOQHoiBkLUQg2CcGJXJsA7yDyALLbF6lK9fQTVqbxsYIZ4W6VNV4Z87n/7O2yC9QHFLPXPL/rUTCDIxT3SlslN/5TwdSM7BDLPwwoyN+hjM5+6zuxD0n5FwQfY0KtXJ4LpIkBMfzsud5JIxV7LHrt7zNs81GLYNHgqZ+lDqYG2Gafzehii27vipCdbzn4Wrc6tLNCWx5Ih/dAM2ADcgVYI+j6LKPkc/omaORmXRIo8kgWFg1dWpofgdyMaS0Ct7dPzBLRSGY5HENvTGyQstSOfDHsmS3Us79N0LRBpaIByk0dsc9mzjgW9c3A7whqm4LJ2C1j+lABunx98jes+Hpv0yzaAiUHlzVWTQLcriAx23M90PpneHUlZPTltBTum12oQA/apTsvbcjHmL0tarZL6qqPTh9ks3/60VLXNqR1k9fhMSWWZ2c1apfNsXYGsEym/kumURTrVcLFkOTX65J63ckJsg2m2qbRVkW8shX8p7zUgv5GK4h73lNvwWXW0HlJgBAuQV4QE6yWJqXMlQGxctprHmJ1017d6PLqDZXI5K1S+I7ENwqPkU9wYYylMeZzFsTUYBlQPhq9JvGqIZ0vtGlpOOTuMTzwkXJ+3bA4ZNvR/XVvv823zdSsLy1A3G8tTNjuLUsYc2uL/vt7djIjEbn67xkNIk+oprOJPVM7ZsmXzq6udMehL461Jxn26wsu6afRQudWKwY2zyOAPy+Sfu6JVw5HJzQ8WibePa3UFGQTp6MW9bceKvuH+x2MobucWCtX3mMck25glKb6rwJtebAML5MYBgNmtIPRQJl/7J4iILumTqDF9vXraZzOQhG592wENQ6FgHtqIjZJO96N7SDE0gcmHLJl/09q9pZXoL9G353CsVTQKm3kCHvyAA2Q78hco9va9Za4bLtwmnDHXuFL9rwkJgDLUTh9dryHBEoPYbHLds924X2+j0f2cZg3QRa3IN6Vcg52dR4lP9+77cDKgfnrKW5YzxpAT9lv0C/HrLBskJofpn5yt9UVxSDy/5DgTwjdCZGMCZoUhL4A34Xa3mlqxqjKTyZG3y72+2+hw0xRVF0+yFD76ctOl65u3vDuRbMZo2MIwHZCDBuUzKpPECWR6ZL7hgRPtkNR7XHBwg9AAFw1KOgygcvRN5Opri2OJKADY0pc+pe3fA6GYJDBH4EG89yk4gmS1vpDIZM9NFaxwjQ6r/+Pbe80sc2HDPk0Rau5gqHJd0zLqo8H+bERmNTQR+W4Ja+pkG7QU0iV8n/Ckg13eqnV8ZvGGMpN3Ziwi5omzQqU8XXJevQjOxjMfC/MkEW3sQb25Md6ZU4NcU0RDjHz0jwcer1+OWP2GlZ5SJ5R8BQBG19tiFwYgkC3G9lSaaYnyofbvYv3UTC0YfhNBUmQF4P8L7soiXWD9ACp7xfZo9q05NtmJMT4yUM0DMBGb8bdrZKE/vxhki5asNzFVd1sqJyjwprY1KNERVc74kNr6Xh4fLe7Df9GXPJZPGMxcvngocViO1xp3rrZ4ljT1/PBVGvdJHGyUqUY75B3oGtcXkNIW52Qp2qcFBCgQrIXI6J3JlnVXEXcyKsWuTZs1W4hHRKoJHGOueIN00U2kZ8OA0ioZPagNfEx34oqoYh0hBqJN1JhW8Pa8efFTcIWlOoNCbe3UeMOvqoCsfEU4gpkvBjNOmpNJxpPpKhIn6DxasskWjsdC0fVFu8Uh8nulQFK3h7Nb46+Si/9fX4DZAvuSH9aC30+bD+beNwDXyyeVKKdJMgifiaaHvJOyLVPeDd2ZeawldUwrdl+v6ebdSaHnjCKkX5Kt5dHhnv4V5yKnxmGE+bDgGJFdsPDDxEv2+ZZ3ZoQZtz3RDpx5Ag8UgXkqaOae2rrPCDDWvabbXO5D3dyBUh+19SKfT9iIDCQX0rTi7GFfE+9C6vpbDNdw3AzUk9OCBYLyYJ4UMX7NjUQJkohC62TiUd+zE132soc5dDUtL42GGOG0wOOYyS2gnhFnWTMDcLcu+uPk/uIRyyILiivR4JMO92FsbBm28CvECjD1njgEJNUzjEOikkfcnm5XG6npmwwbRwE0JpQzBnYRq5mH4U9AurjYrCe97dO76yVQlcak0dxqSfPRAiCMSbp2RlhdhpBOl6Hb/Dey+8cacNFfA4wXhJQniTI0fQyaOko05AgwbMsiUUHHPnHu6dQ7lJ9JEOpVcEILEAbe5xbHTpOxkLb1k05iri2+Xv3zQEvBYE/KYKtzpTkTKKqtQq7g7o52/f1KX4+lymhl8qlWgRI1NAyuxq6TquW8Lwxnfwu1ngWh2LW/Ad8AE7lGyc2xBuMFR/USr/jaX+sLS2nGrIVhQEzB0zfppl0WGvigpWTaAhI/d/ELYaJWKRrd65NeXEkl9fLLCtHBALAVPmGvlt1pmLvj9gdNgH1dxnt3+ZFYeDbavJboW4HZ4FXxDmJWAea3aTvKw9kpyBUBeKvOoEHQFGGUmo0VERFsn4iDOKBDJpXS8ZJK+rLaghuMjFYO38B5SgFjELmw/eLjceiRN568p84BaYtroKv9ty919YY5dqHSMI8gjncKogiVPtoZP+x6IhF16BZ7UbcVlNwK0SXg5+CCs92GtBxcLb9pSKRI7WxTBGsDSN8OhGApGunW6zGWm3AXUvb9xJrhkMEbNAzOL/2rJfk73xQAi1NsEDHfEQw54l8KYFXTtuMhrJuAR81XNGeO75cWC4jU2i2Qxa3jwAlIvgq4LFdahOIrrrHRhRTJPJEokizsJAIKGD7ZF2V8Ro0X3ie+kLWUrz/vRfix/HNEdZ8OlIRY+n0kQmlHQxvQWVzTdIT1NyXy0x7C1Llwy7AOx8FWSk1tX7aynbnlskgZfzR4BXXN6vR+87+dx2RMH5GdgttRTJ/1tNIhmEuh7MB1Jhfi5Qoe7I4FXKs7xMwLP2hHV10AJ9jG4UWKTSlEnDAcYt29epxip+FfzTGLaJTEbRE4/0/pq3LMIVKcPOTLe70HcVGFjEaD4xe+WW+G46vVX20ry/JrN67F9k6svtJXbbXgG86giASE9+vZpXZ1wXIDmnEW9S1JSyoLfmGjJlH1jIfelQ7YDA20kyQicb3Or7bZbditXfRuovWZYkbIJNeao8KL2PfXfrjwqVIE339UNC41NVwweVg7B8QStYZNMk654HhUXn9ElBL+G1X/KRDpqDPlKofx7BQtNcf/N7+s2G55pXV7Pt4t3FiZKRn+bc8PUS9G0cInyIkiXVgOSeUg+G8Eo45uNmtfxOkJxaKeGV/v4odgvEgVhPbZ3vB2ytI9KQPKrIhurOINuVGbV9lWbNagu2W6cIY4COnyJXO19C9j2O505wgG3jefyrwJywyQC3UpkO4GQsPwWHkkSWzKyqAGtirs39vAsLXGqxMavAHd7kU+LHqqbI33sdE0/oOS+dbYI34bB47FG4JRc4KLU2VFMD/yA0SN0ETSfXUxyUwWMIaqtcREDEewuLRU5i9gCVRYS0+BhEtfLFsFJNPeGI7HpBsrN3BAjnk5hbwK6TIHIj6e6IdoJJqHF5NgwyVsp+DyDODmE+sWHVr41ysIIvdI7uujuu7ZPRdJtRbYZAO7jqj9wKwt1drncJ7DlNsjKOw2AXbdZSGiB3ruevH/Dj3ZtyNninQ2rZQnnjzjOCm5+4lKiQ1jDaJjUQdTTa5CPtiCSHVJKXa6pGpBn1cwAA1X0TEMKGUcTYOtdZxV9AZl++4vNNmU6TSXaE5oHCz3iGpfSArSrl6E75ATXqA8aW1Cx2XKPdG/vymczbbRlBCmhOW7+HEupWSj7qb/cbWjU0aWeKx4TcvFJ2c+GfckmxYhNksMrMt5HWSlVbTW0VbLw/pqkUt2UD2HVhz7de92IFiYXq0a5kEFBCD9Zup1ix+W8sfF6AKYQzrKQAj26Ixcn53+5R2Zlv4WMf6KnDHhmz2MizIwqFngoJvLP8exKlyZZ6mcyiofM1wv5xgv/stzr6QQ6AX+Ujzw+GvSJjP6wfCHxa4LqUqD0jrhpoQDNF0bv+zGfZ2dd84UUq+3dB0STDJBjAErbBKC3Ubv8OMby/G3HeW52YsGZVT0uVEThIT/YiAcG+esJdLMRm+KqFO4iupmOnSYUCm2grPtZv+aeb3MxZe/eO1vB9CWNrCG3OpoL0/Dt40lkvuJdUyeAwhApmN6XXPOmEQpQZGJhm7L4V39C88dGYWGpetjdS8joNNOUUC9QF+C/Z1GWHJhXSl4LQ6FAunXpiRJGD0XNtsCYyhblbsSHZQa4kUsXQNYhTSlZp5IBDCDEtsDThIvQMpVhnV2C3y78k/c87ontbx914+VAiN0Drp2vSroVezc7748e2rjyt+KvD8QBqP+pGUBaGoXWiZ/Bk09QVpsVt1iq6lZwBjrB1o1gAUJIzy/5eODZKNFX/EWdgRBUku3kGQAoddDHCS2WylPCvZWVWlUgpHy4NnYf8x6no0sR+CMKB6O1llXsPW8LUoz+MGT65bEdVKQ2xDfVh/aY65VGR+W56Whq77KTA1bIYwTdCsieDYnI38025WbHo73w3YqbTljOzGTm9mnVIZOw2nD0FLU7+E2Ff+SQdPCu6L667l/EXRalIjDIJ17LhPMN/mqn5aKl8HWrL1Aqd2cQMYdLDVQ1jT2Z3v9QoJFioUcC5HRnskyiKyF1rlwQyw01v0Q8k/60xB5DTMk/lImoaoj+1BEtTnvL2C8Mq5vVs5blgHv9hGgnusE0hrRYJw4AbZcBHRcghVBVNkybm13xH4NBWdZT9hkvzZ0RnxCVx+yMPpkhg0t1aPON97h998+lnocIVWre0bEfeNDwn0g81kKbTj+LEq6xIoI2JQnW39TvJHYoLFIdlDbJY2yiQK/bEantEZzzMFvWuXsxfIY4w5ZlnoeO37k4f0An6t18ge0LUuDbdIIwFC61t2G9zeFuSS3FBCE/yeacI2MkPi6s4d2Bz6DmTEscEs0mvg0GZ4W0SWd2A57pBk3hl41BAzu5vzJb0oxdKnvdis11clfulmIU14J7oGeSAxhStPZqjQa8lEgCOU/C6x6G9h0hnzK+Zuw+HtD4LH5ZK4PX0NVsRNju/l7kdlpbZrtL8oBTzQoxC+sj4gKQUo52sspQ6/r8p/RDGuiWvgXa7lLq3U4cYLOhAoaNM70mfxfcwqysB+CXxGQkO+/vC4hMj+nQIoLmWoPzkogPBfF098Sv98QSPvl7cQXEfYq49vTlmlWX6XANZ4h77wCGQvCJHS/fhilP9UHS8XnhUgJb6ruyZ1Jv9/um1OShMR/PiF8cgd535DoScAHUqJGfwEn1TvhTNz7Wc5+gj+FM4vF4kihM4bXEvY4LUInjFintv58jk6NrumWuPFEzhXxrNyVijHKLguR1G53UH/WfsUQ6w44RJ0RE0vn3tbL9tF8yU3B8O4LBpGBE9vXKBLeyx29RulStHgQ2EiHhSeD+yGjdubvVgXRjEomO/5pBeHCSmpT8XtlzT+COShrjbhVZhCA1h9xZISxv9XeqdJYNkHjsZzMRcNdZ5YVjuIozE98MX0imPmKhEOn+H7Ga3KyXzavEgL0cSxIc1LY4oo1PqzKMFlB2Qkovka+H0Hl1e6cUeHJkU9GLKWRu+8lX7bbTv/SOb99iMC0MFnmXU1nYOAoFFnyzxOSdy0Z2K4OPhE/h74CgybzO+cabidh2X08xOxSfNzbNfHR+rqgonUylr5fp9fRXTlkmTWlrAqqPjEMCNSkYQ3nIMpZbPicQ12TIWSXjM36xCucWFZk8q1u9TUfDOa0YYbq7a1/kpx6WBcURNfrEvyKnAvGre0MpR9UyykvuIF34ccJvn5h3AZ3/qipOZJ/tcO5BdATjC+zAHD/6Pg+DseRUTL5kNWYH3TO4/k4muOyy+jwZMmd8vMxpDLeGI5So1FPd+5zRGKJKMAEeE0mXC8jvCHovKhGZ+eWiLHsOKJJLtRSiE1vTLgaYb7Iuwasw12+U4+fn2CSxpIvPOMgRLVLH6PasAYj1o7kgqvcWHFGYu5vL5yMjpkbwjkg5sIieFWvA3WUDFJzFw2MT5S9i2Y8Lo/ooI1ARZQtqMOIUZuZBBqLoKmp6JImRgUSCRUaFKmej2Odntxp3nVP7IfQS9M2fO6Q+aN+SKRAmhV2KjQi9Klqe00ySsQdCxhJC9bkqag7PATS6IY3gm2pLDipUv+iLvqjcfMtzNyEVVNbaFfosBLjn6ubM2GLI8gC7seRbnH3ZKDc7D6OTVL33AqmItCBOJIV24zfBGjh3Az71KpXbN47foS8tLMFMJQ+e0O8/GJbDXb9e5LsuIfWTUAuok47VykyfNXAicxmBb4DLbltzcn70HfbYFcsLQ8iUM8wQpF9sha73dmjN/auWa10rn1tcOtIMyFOAM9+pFvOKpkBXCiHGAQnbzoQ5CXrdY/vL2/sD8zqZsOg7iRAkknGmzTzT5VipQ+294/wpzhcc2OZQlxLxj0oeXEdwBaQ/ZBjBtoTiYB3vd8gfZqbR9F91Tj2BhWqwsXdExZsmqr5pGLHe+lMYMt6Lr3xyAdYpi1KSXr8AvjhgHcHChKGr3JagBbDOlOgQwhsQQOwOt2PU+OCCsxXq/CpBdMeronfwn7jWA+2fvmuNy5bJHEjwUsQYeiCi2cltZg/ggHxEcpjMR3ZZ+ddwtTwsR5EXM0h2SSZLaEdMVdX7k808i0JJE7hRHNjZgX5/KQahKADrpUPYx51Vg3rrMs5pEWVvA0EtLDcU/IIaBr4CIk1ZxhMU12TBE3m1GjrCcaiWQZTtCRNy6LSMMlXwMhoPcLx4dgY7wn9p/Nq0aXLC1V/d60PXRc+SOo5WYc9tr1ijEN+6Rous16esBzTI4XbIbK9vPCtV3xIAyiL5xJZTtpR9rUFT3alKhfvUpP+MBIIzi3kPIO12N6ts68n4PB/3eUUqcbWICCm4IxLb29a20x/kcHH+Bmbedm1TEXJ/jg/hh7P7N096bGlAmmc4EB75uZ/2xxkS5NI0OFmQYF9hdFmp2A+r5MRSyFNkqZ65zeA1LKzTVGL8E+oO//1b6QE5ZL71nGJLrkMpYZfiVOWUZTYHMoWry4gkV+bQt9YXHzM98hRTElTI/K3vABFRo7Cds2OOYTmnYxDfEKAMjt6VD82LXTKsh3R/rXVw1YJzq0tg7J2GIKE6cuxQxzDjQwo2liu3wge92ggBhhxjGDEuXpGomgEOqPqrPAoe54KWcM3A/6YYlCN+RYxF0nnVov3V+p8xf9jgEGmmSB+HFDFsV9S/JOK5P5nll42LJgCAsZqFw0MTdewUorZvsQhxKpzw4BCINvwisNpV+Fmmn1axM4DMlThUIlGz6EcqfyqZx40uUAi6CcJwEGm0ETyR++pHSJ7zRC4eV2qJ1QDBAZ2qzMYmKCkSmUGDHEOc8jGgqp0XtDdnksI2af4xTZCtmiCDeJ5idh96AEDVFQ0Srb1het74DgcFNQJwDobw+ecLFP9RIl3eBLkxt11Yck+vUVfQsuScZRlSgChNGGd+8qAtmIZnZQ8oYeMVYQ//x2IR8SemJKOw9CH8OQI05ENrSiRgcN+J3fMDydzmGlvPdhkvgz3QfR2D9ieUwmJEbpOYlI8FbyqImu13Ec1LAc6f2IIjb95zwyWxL1Po7QOJagtTbvzzASG31BwtrnqTdPFc2M6qLCn8hX4aS7Yo+AByVDF4RDJBZXPu+gJ9uiVBpmZAW8R2b1kUC1QsFLJNQuEdLHz5xwo6tmkrJayPVZadDAf7u9WhwqTf9wy660SYkETyvIBnJ3h6IAebl3l+oQwJsX9uVQkx0qjNy0Iu72BySUQZa55bRX4B4A/T5siFun/j3JgmCxmX5JWw3vZOfxMkX9E944NvafVUIBN372X0nGBQw10dKcgJ+IjEaw/4qlaYEn9VHNEYfcS88Sqc3gLJ/rwk9t2Y3g88WwuyANSBGQ+B3LkEZerFp1mnL6xHej4obQHvZ6oT8Qy26E+gQ5VrABwwIub/7ijHGa7s3gKxPgEOaJbFJ2iVJUN5kxmRYHmVab6oUexcVg8PzXJL0NE0iF6Rxi6+TmItt0pkTDPR+LT7diFXR54V7L2VU9UFTx7F5zon5eS445ndTF05iGzn/7Z5Hk8lUsAdA43yppzTe+8l1CeOZi7OUf7J2yyZJ2oKegWfp8zHqx34OdDuXkCKjWgrcsF+feBo4pDGC8/8xG5ijG2DA2SHir7iACNmrdOH2g2vV7+eoMZQ7TCCLwn3zMX1dDpBQrnJ60b4HbXISZfXwICkNfKdjUjltGS1OGvIlXtOubwN5WOFgGGvxY8ePRpQ7Q4iQxP2nAvtDhUpSn5H3kSbDAapzHiscK5lBPC3a0anyRzQ8LYyKHGrCDXC1RchXR04RAk2tQh61Dj6dg77nlYSPO7HB/p9H0rOChgZxfeMkdGRmy0QmXrYUb/BTwVaojNVXttgmkK6zgH4UjhM+oRwlpb28jLkeo/yMvrK/vL5wdRoQ7nF+dtNSUJL62n9xB4QJiTpB0pIYIIrmbH/zMJZn0CMradW1xmUwJfonl3TyTZG6Dri0t4UpYhCVBA/qEAomgfsfJLJIhfbd3ElyfNKz4uH0CVD4d3+tjD/wlTKPTdwZvcUFd63g5pJsDhn1x9ERA2g6f4chM/KeeB+KLylEUqqsOH6kVnm6+Kp2wyqMWBWZLgDIdQANLW6H1iOhs3Pr8PQLp8JHYpuT1I1bfMHxv2NfBUzPY0ozk6zUZ545Vc/aFwk8KBFVDN3v9mw2s28SM0XDMppXm5lz8nTtL47Fal4oPkmUyXZxlxejhcWLAfUz4TZ2alyEThCxvBgXtbg7hGZsljddvT4VsooMlnZAvE4y8orOhmSJdtBZ4hQQbBatlCK/tBvisHtbciSkvkFVcMaDA/unOdVCD9DY28waQRVE9D1K/cZiaI0+abkSnaRn9S0/via60R9hepffP6oz7m9ahhzkzo6VsF8ncYZM428gpLSErrCkL/8rHiHHRKvECKB4YHHZ/6pGkzinw0V0xiylH+wi0t9ypnzcU2MYzGc9h1r/Iin5T3xJhQZGPUU1mQYdH4JZyiqAtIyl5flAR8pqDnrj8JPrhO+PwQ7KQQQfGMFYUvhyVkcTqaEaSgbvoVvDqR1XOL00ab7lUZf0vi0hOUcUhd5LHCA7M63HhGn76Q3bi/y7U/MlFm7RepBQbpHdQHBOKFHw3nAZaSQIbbX0wyvXhVVDp7br6+w4dmKHBwvohX/+qWFYT+g7LGuL5BL2rM8jtLuJIFnKj/de7w2esRXuVkSVcf7+hMMhbr3sxeL/pMLQ4g4AfcyNPXkZsJf2C2n51Ix3hjRQ66OTwbjNEE2Op/f9GtFVegMVSVEvZp3AYzyw0K70gD2sjZdXvocqkj1kBtUeWQbBi+oNyMT+M+Turm6tAr4ts5Z7EA+JBNyq2AjpLqG7Cubg8icVwFQuCykPEQbRmMo4tc1YTOfnAMoBgpXxX1JqNCMZi5U8O991cXwA5vs9DTfbJnYU/J5J6BgeYnXzGYPRuZHRY+YkxgsBoovtWfyRHga4K+ZCaCCCepcvXMPJ0e2f6PTjhCgegq7N0j/sPFN3nPge/Hv4YSLRozfbcYa5uqSI1J5fXfUxJTQqtbriQym9n5LXHui0xTQOweqzIow2sFIJEkmMAYdhnI1y6h9gwDo/CzREG26M81a6tMBfI/+EL3OUcy10IeT6rNLwqTm2gHbHhQy8E0D6AzibasPxljum0QwF63tIO7P2kGk4CloYeWNJuhpJhrkWhK2kgL6JtwJEoasg6An4LC5pCWHuukeHn2wD1PWG6b8ZkLljqPlbsJ0LHl7Qi1p96ux4bTdG6NsmCEJwmD8NFYCUu3v8Bcn9zr44TUTFhnAuga7OXxtJ9o/DJo6AJGZjV0YlCPpuQmM2Jx+h6HndgUkguf00TyLMscUqD8BXhqwNMeeh/W/oSbz+tF+t65Xbo/A3smzQ4irt5ZJe0iKkXoGPvBMfQzGhB1SjI1zHVdgVom+pRpCuR52tciAA4N3dnALg70xTIGkSTsNa6uxy0QNRElHb4nGiD08vUIOtBRQh7PJqD7Zr3S1clf9hN1Gjo8xEZLkY8Sz97CIl7F0xRTTk2+ipFaE/Zj6Q3G07B7Ce/B5rDExK2b0fU9oguD8CidFrsK9AKwLMPH9OQFhWngM9d5Fzqma1AAlOBTDOxbgnFTA8es0x4oCvlP7jlV4Y8igmhARoLw+n9T2ASrlWoHXbjy+HrPbDYWgpyb1kPGIeVgGfYWRKgUxKgQ4UIW61JlMwHhRGMwECcy8eqPB/GU7KHt5A2XyMj2Pcc3+lR+O4wewWKu/X/hyXyGMe4HCiZF7/GUY5voz2vPTx6ML9K3/JvbQMXm1yOAmqBeB076KELH3FsUBbVyQtQtS1gNWGSJjDq+4Y/qesdoBJE/JbQ1rRaN3uGfhl2SJVKfYvaaTLEu4iwSdaWiVDWr34jRYtW7I+8sni06Uw4glh4/PipjwamSVRAgUIqKuylE6+6ZS6YwfA9DmzLQYULnV70ZWlp+aZVTIZ5velFSHFouiQHvNCcPGa0XbVImucxSlFNI4QwPJft/NxjY42jM1s3mzT8TSTRHNVk+Ic8JYZdiiZMPX9d9SkjIvA0nFy5sfGJ86ZzlteplEnmDVsfIf367tFm/NNPn11UF4AArG6lHujLWWRN5NcBTSZ1GdY4gtXmy6Q4leuS91vAmHtc1z/RkuL+Z4z7rcxxiWO1icIGCD/J6IMRSdx6sE08/EzZvnj4i+jEWD6HlbxOJAcHO+XU8zPva2lOQZHqIUeKEOAFT0FB6afVoYI62HVQpDao7j6qaEZqqqT5NtX0qgnLEiPOS7xGgVl4Ji8OjVifIz5IAPzzSlI21dX8WY0OWcjV3RbQyna+yKyZ3bsjNQIy4vTzO8Q9z+oGg6On7gpzhsQUFVSScjkKiH/9vRRgnKWuKAO8QTNCZZFv/tgt1QHO6CFf4oXRqzJYlje+aqCXCiQX5j6FYrGHXD18TGmyCJVtWy6DUGWtnaqN2lgL+O1yFwLDm5NLdy2t94rPZXfvbmjOrIzxpmVJYbsvlEvunn5bBadCsRSd30KiT4HHs+q1k4mEXkW69QccTzDyJTIHaPcCf7nFmz3o238BRmjX+IDIbV+IvLqlRd3lOD2iy4mq16PmeybT0BMFFDJ6qNp5Z4/nqdg2CbFYlTKGzpIW322vW4lFTTyRLoRCqqIvvAien7EgToB+ZRRK+vyaLCz1IcqOkSDYXc20xSYHbnOjpDh9RAyzwpA53G0GkjGM379QWL5JVf2QREAqcruxH96Wp/DdvOBBPBPDIV3uOM+yGp6A3vmVVVYulS6h2zHYsqxTqjfyoUDVnzVlgpuwoyhvCmcGhj6Cdar8O6+Wu3uKAlKNo/dUQg4ApyDR/JFf9CC8smboTP1Tm3zU8/CG/zQD2qQ0KK6MmvVLg+FI+pfffUfUcQWnwOjsZ6ehOQYswYNfKQ/LV2UpHMk9q5DnUVv9Cbeg3h6H5lDvtFqtyK+ZAA100LOg8smsHey1fkK2a9+g07dx2Cdwx9p3ekUlZDljP4rtDwMYl/ieOryWWagWe5J3oiuvU+GLUc2nKbJ6UsT59L4W6a3FZ0ACBHFQ31nq8HUdTrcWFt5BnwiBO2xdvfm+UDSug6vWl7QU3iUUxQttnKYg0coCnJtG5ysH+Zt5T7gCgmlbmBsCHBq9gtlK/pmCyGTXPiEkX+dI1fCBvPWgL9SFpArJVNvgThRZfDbVl2fqctMGertf3BVeJ/MMaoWpvGyzQrq1kph/bdMJlIMxaa6g00WW4GprB6uKbv8EyW+d49PYwWfT1K5iGCpKjonvFGDxs8mtBKe01bIzM2wlqtVB8FZXlxmV1cwGMAOMtwbYyqSOTZjkUBhEDkyi83/ZDjzNvUDjf4qJs9EsoP3uZPDYIL62SW5Ye+NHqeJ0H2HRzOyyIKdzocc02Io3xo0pLCJcFDjogbn9wowkujNFFrqx3WLU0G54uV3GHR/tnaetlybf1wiQW9IDzrgZARfZXP6F005i3Vd6MV1TX5h+H6fVONVQiq/NmBVblPNFVi53W8MUAJcqXHXzXNaPMiyPEDN3z77Pfwm3zFBiptb94Hlyg1wFKtmY8V0x7SOL5UtrQ6ObE0bh57ZmNeA2ei0Bk4NSmr7pwIEthCh7geMYtBPIH9Amn3lwsulWWDxfWZqx9i84nnIev/FZG1uNsiB7Sqvb+f75XOAF3JL2jjleS5R6mKW0JJ3m3NoitmXZJkMLhOLRujPe3FrYKLblNnE0vlDTETnSEjtSqwxusvZl+WVnrTp8+R/0rqVcOt8iBqwZGznRBsP9ftxvsy87R4MvMX7Y2pL2oHZTFq1pC+thbQzZMTqHkzsjk/OtrYOxOxi+oLBryPi/LeulpIs767fidkTeVK3l9T0X1+rsE6wUXU2Ta7rtcRd26JW/5Nu7OQw/TT/TqXQ9jJ25c1i9PzbvhrA/Cn4QUsGACkwkTkr+oYYp3EiB0uazCzxKBY7aZexTXjS2uGPccOM/diQM0cn/USqSR6q81L6iC40Jgmo6UNShp5xxqI+CsPNORwvat4XJZrx5fSAOwbBSdVVnEvvVCl4wmTENbXkiFmUmW5QPf8Xp24CKDYWTmTJQrtMCtoloLo1MorS8cMPk/fgmpanddRwDRH08K33bgLaitIb0u+1q8GrInydEF+scmR0GBj77l6Cp7jctarF5CHnl6VKicg9/fMtS53me2HsTAH5EiKRVIVMuyM44FO6N+Giw78lu5p0c4uv4wi/CldbOji0tdyqqfA1IXC0DClmFiCNin5rnIFddp/2AeP/KZLxsYI3Ml2Kizc1pXQRvYRs+2rtHN3m1OW7Aj6+qAGqElbPzhk2S7NumBh+6IKdvH2FGcZLMsXSZumu7VLznqO5zktR0z7clWEpln8V4LHM+nlPtPU6Cp0B4GYFnsnpxanlxMjTAnBqim9F4o7F+/5f68U7Y/oScIoaZDszqxld/Ipd2BZIUV/3T8PBgCKWry2aU/AMv1Ln+LSdt175/qk7XIrSRf345lylX1/nwidkQtkt8Boli1o240w1wR3pIQyL/bi+n55VLKakdw4+FD5iLkDia+087lqSN/Z08kWHA3LE81YBDlx+kLbJIpV4mMLPMp8kdR14/5J6rTV/ge5GrLHgCyyn2JXx5Rjvm3nHvOQtD0Em2hfuQTNoq2HcseYVggFVhM8jbOaNnOLzuLDlZibrSiCovHDt4RgRbaoD7yMSCQIS0xSwTLiyyytQkH7GeWt9k2Md3aHx04YArzGlE540Dv4jDc1DnlCNpija0+1RPcYa1y6K1mJILF8SPywmFtpyfLvQW+sv+TrJzJUVYXGwAVXIO14ljyg1nfrmlrWFjX39w+OB9WTuEjy6Uy4pA27q/mAQjS1qzG9e1M4mUk/pUtFhxibN049HHgNQ1ZFk16vFBK67Da07P8hAMzVgYGcUiTHySabFWldPePUXTEOMwLDwgxOQZqO3R3bLIXrD4ofb3pH4rIzzZmm9LEv02n99ZDdFZ/7C+k62/B4iJ5Tg1TFHpeW1q+isGB4HjXQZNs3EqCMm5kikNbSyo4uyB2ZUlt7UwqkmjriIvk/7yVaQBg4C5a1jlUZXowACBGLB8Mnnc3LvrXEVohsZCQPdxR7TbNUJZqrk6qnMgqXTgiVVWUwmKiORx+DxM4xVGZJKZC1md8JMXiU4rsTO0ScEiqeShTbMqf3ovhsutHHkCpxy+lIgZtVaNP9QmrcPQtNE0cIhkfawoMsTAFzevFkcV1rudL7uueqNF7YM1L/XkufwfDpoxy8hDaeGsGokm3T3QfvEj0y6CwMxX4lU7XB14SeJNDiUw5N73BDO01toFMwjR82aFdeUsrwGkwhfegZPCj23dyeUAxceJUb4HakY1N6F+jZGHLksY1lCzIbOeSx0fGStmJiesaT5TTPG6SqtjZaiayx7e94iYth2uancA92aj9h37gPC3yX1dp0QevzvqneTP0N5n9izIBkIwN8G38JX5q+KNdUs3NOpY6xSyshGBwVwLwXzzCsejtzZuaZAadpnH4Hqnk+aamqMDEG7NU/vGFQLITqg3v2MDL3490p88EcSXEAN4yGFLuH2XcyN4OrbzBUyHqsrKch8y8IDgH+ruP6lS3VzMQ3LwvTwkRID/uZ6cIfhttTCat0IU2jDu3QjcNEflWg3AFJ0Cm399/wqh5PJN1h6lerlNlhHposjwYkIo4yPNRRJ7/WGyX+nayVladnuuU4W07qudCg6yRBEOc2eedcjwaRzoDmc8wnFdu66xRwL0xnHX0eY/XpZkZ/3CyPIWofb6TRRCAAnuiHDJS1KSq9I7DdnDLiVbWMIICGUEUhGp7E052VwcH2lSpttCr1MGumE+FeZ3LdrjS30UTRg2pp2yyDsZWaOtPCHZWgtPRd3LajKq1q00M2z8M1mwLXisdO3qr47IMcN+5e21m0aO7tdXdAGQk8UzW85VCxG3zgBcLcReiQx0tqNdKU72Qwh/q/WjIv+2XvXE5KxcQI8iIchMN+kmPSi8p0/ooUAMcLh+GIfwWgSNlPnniHsoYXudoUCv5Av4P8VxXiaJTdDWXgKta8srtoJir6n8ljSjAcD5/HjnRrRUEMEPX2g1nVLoJVBcPNBkB7RIuFm52UwZ/7MpKewjVS2aTCen52QSYp00nzPlo7RzwArVsCvg5XMRmNKLH8OANI1qiVfVaaSZiD7WOZDeezU7/1HaKHXrgq/XS7/KzJgvXhtfs95X2scbAEo5AlxPf0Sio49JrCI/1Ysux6e/nPvAsysnps35eRR+TqvsWGZ3wTQaK4A6zmhZQJsl1/HVxPhyTuYEENT2DH0JwYSbE4HLsKAEl73BBH836hygJ8ONQwFa9TCAZvX5V6hlAxaJa+by3hej9cyt1iTnksSKmYQLGjBA/w2gO53Zvj+vmgBLMIYaBjQRvXfpZAtNolrXimIy5ucOADvhqVoe4Q70Z5goKQsegL8nczC95o3vH5MFyV7NQHj0uQwQhqvIVZY6ZKq4EIXDSKIxZONKyA2xHGePFuKhpwvJcGa2nBzx5rmDBDeyUIZL8y9fw4qbovp611L4jsEle/YfEFSCh6RlpoirEUVoCHZWItHrBA4hc82DX7qVZAYr8vzizY00l1ixdy+e/z4X2I30YjtIFOOqCuDbEgNZIVg4OO7GGtZWh1gqOxel8f+m4h4u29TSgsIHQ3A/1A7QYE2mGf7P//IXqzd68zMxklIO0J3NEU4ZiGsr8iCIuZ0Cp/rO1lh8pv0Z9cYNDJbaUFwjFnZ4lxPnZ+sOPSgQmBzGai+rajhjunRKLkU4xHRtqIGQPA4XgrIjj0rVCcts2CPnUseLSv24PFx+fBD+FCrwhjJKP0w09K9ZY5qJnXjGTZ8fgW9I56cE6iHY2Le3CHyYA2FMVh+p9V52KIu7yUfbTRuGcgdwhieLH/LIu3PDGKqbUyffb0lQZySEo8q1n9CF1G0Go/0ILdKoOlnER76vWIKnKbm5uRvbegrSYw7EAjnEFug4iK+Dk3bdsZCYReUKQYp7G1D+UvqFjkLwTQSlI9gozQHEN1OQjcFsjmaBgiGru7Ipd3JKrzu+Qmg2eNHTigATqiojkyzNbG4nNpe3mdgPR+Phpa6ZH9gVKZc5eYFWCa3FNCklW+pb0s0gksYZGoQ6ZzVFNRXbY5SRKbwWpFcONg3USzciXAo/gG/fS5sq6clgT6MfpF4Vmmke4Roc8KKa51oq0w+ezlTzujeYg71PKe36STVQZgzN6Ai6P/YH3Rai022lRAH0ONmHaP7yF7QKo32x+g/qcNdJ2KUhTwHawGZpdGFpDG7+cambfGa3VNi/229jKoNy7BED0Flz1PZcXjY3WaNoC5KK018MnhGnwqh6HCVp/DJViqw6y12LrD4e9MtgAj5ZjGb/WCrcWSMhVypckp7/ycNnt0L6DJ+m6pRQc9Oh2aToDdWdSPxrA2WT/DnsAt9oWvZe0RZaOHa0XfOPcCPU3+FtLNNWyAsCW4fYWW56uWe23pZMhn0y3yjkOoMpj88jN+sauifqO3QTDXiYVOPFNpWHVq9JzjGke9wcQlphki2uD4HJ5H7uxufy46K0oScVoWT5/66cPuPQy67ivhuwGeEjdlFOdbKLT7sFi0mnmWF446zChQ6VfNgcCAFVzxNruBPaG4uJDpKKP53vqclkvZge4MC03ZnurGMuMEonS8j/M7bA0KxmRbi3R4F9Lm7AVYRokpvNIsQooqtz+iOzuTcIHWvcm1F6FF4g6QjsBUcJAEL5GRoDbvlopZymkghFz8OYt+SusS1wb+IS5l8aagqkqpBkd6WRzVF71BbRHyNlWAEFWPWI+jFNsnah7lNJkHB2AJKmeyEv2G8wKb2xY2bhuLTlrchwjbgkDGOSLJQTbA44D8gT8hfAxPeAe8qXH8aDquEgXEztRfU95M+zWYMr/uAIxhQpWsDPzttriFTwSqhkhqB+xBMYuGT2OVoME5ntfXwexCUB6H0YNE9YhRME1Dgv6sgKeNUZUTskyD0rt25P0TQdSW+azuGC9gcD2jHdvLEe5Yc0NAP1aBR0X+Dm7UgNNPkvtVbHozLgzmTlmh5XMlJePI48uaSeRqSVyO3dmGG/5jH0OKx6BZVHE96bYrslgmH+2UeJyuWwaZsCag3ZMiNUzVnW9N0kF2F0tMdzfC2091CfYvxrFKHI0yvJgfXSkQkAdy9gaYfu9TQrp8IfbdmzSnLqVCfOvOTdE6lXzqrTOPmSyvamM3Xn+2cdQM6dzUa7KwntkxqV41ATNdqTK2RHQXbWQbICen6bLlJu8pUZHooCbpFVD8bggdwmuZSlOb5ugI9JYaancFf1SYGiHJV8vLhBn342aLQeAOImtwiFNkEyNW0tRJfpEmLj/4oQXNW/wtbTftyQ2tc1xGX0o8oW6iYaoGXoSG0ymjEZoPEjGi+Qwt3wDzDgnQPFwTcnIYOq6MJQz/qDvpmMi5CBIdKZEYbxm282CrOxkivVvn8h+2PaDT0pVRjhgHOP475Wj1F52E6fUF3oYpvIMBkSj+d48RkGZkFuuRQcIyqvg9DahHNnODQVt//fWZuRVT/toG3FqZodtA/7X/M8XqL4ELHygTZ0BX6S1xIPpQFKMOqeEgWoluGViEBxbe8lL5Wp/2Fkmwfp99tDbLzFkVs4jXTwcsqyo2A45UEmI7NrPzpija6fgTR+r9lMNMxllCSmZW08eCli3x4iEk7CbK0R2zlwE14nRZfahsrqs7A+XS2nljkC0Sn64mX9H3MNuuLPd093zv8X5oOCZQkMEFrQW1s+fBG1AYg1qor0negt6dd9iDEYbnMfHMpqkyHeMO31xObmdyNcvrEzvysByETKXtn4wePlLeTEV150hGJhx33zRtPX0+DrKCtZZEX7MPiACj9mEtDX6jxXhBcrBWJR/D3B+/n86Tg37ouZddTTe2Y04sycKa+9vSDzJj+SQm7iGXsSkv5qXsEM7UGyYD86SgTLtY57xEHvVSJ1y/mlnp77XhXgNAqkeJKMo1SXqH1D/KfTRToK0iQJ7lB29ZwMZBFTqX7yiSu/OzoU/yYwEfEyH2jm1oPOUUz4ScyXR/UDx317xK0Q6Vqctowecf3XLdCIrrHJW3S/8BcBlPAxOjBg+McTgG5s7nHmQdUveJVv0bSbJEebtFYie+ynEXuclJ56GSCKdeKjFh0haE/CfAbzXP69FCDu5LrI9sjp+tpDh4Uhe3Qo195AVp0YDyCgn4wK51+1UcmNlZjymkQP5H3dN7Mun/3dkC2U3UMO2zGVXUzaZEQ5OE5hTVn2/3uB/9RJlVW0KIWlDuDs82VQfY890ztjbB8N41izACsY39EEcSsLYfddbdp5I6SWIcnnrSP51pp2F2dE49cPgOoMb13zlBIKkTtDAPXwsPq3wm+/8djJTBqtGgVl6bk98BLe/taZnZGt+qnGMdY58nxdlZghCk663wsFbjquaTP4at65gLi3AXJTSTIGLyA3yTc3H/rz6A4MpoFwt0XnczOGoCTgUBxPtA5TmJFZdIzPz6uY21RUglpU+kDBgCD77ZynP4BJ26IfmSOabpeMtIzOlL5P8hmkXbH/aX1rbHwoTqxG4vKrQ2NwvBqUsBLwzb9x8HF+cQ+xoFIX9ZOgB37j7aWuRXqCFyYjaaTZiUGAw+fOwyfdHVuLTdB1tROpmC7vw51976CYhXS+dilfmxqCo/zQvRBWdzwIqiU7QuFoYsyxfvC7LRyZeqrhU01kod70jRfK5K7zUQJP8Ry6SpymlJTcyGJ0/nMiTlPuycE/z+azUVl38cNkFp8tWqPErgnvoM16iN7qhAepGaX95BRjWNJD27GKKrlHlcM9p0jLe4KntgpMooerrhKz4uasxtsHZqkYH0ZFB1ZK0G9MimwBWPOC1ywlcWvKmYaLy2XnprvL5zgbtNn9tzB6DNpuyvs3mlQiJcuixY7DBMxLaP0xLOd+MjmqomCAhYKuvM6pL2lxDZvHU9jYJ+Cydpg9fB3Z/UCXdYojvCoDSpxsXBGHzlNqn7SFEMj3faQaAFH2+45ARlbMBuf25hY7klYHL7d7zLAFsugSyTQkYBNW4372CPzY7cfqTPKlv4TcZLER6dvVltjxtoBTdrcT3Jm31L1MC6XW2wBIUonBYNoLO0PeudGXesBHcxqGPE+kVLCZyiK5csjWfNaNxRGeYpOt5wt8kQTj9icfsRVzuOyjwoQrtwzNcfUI6LOMqBJJlTzcrbYrfQvOn/jdKBFog3xHhrGEzAF0oC4i0p6Z+R596s7gv23YgyVEeqs6RbIh2DtnTJeSr6uP2U85nMYBdRRCrkFsJWKngmHOuMecT3WDnXudsiPKeTZBhJGWCB3wu7Xn/usMu+jlUN56tHakxkp7TUwbtrEfb7AVmA+ZesBHYefanpSJsK1Ip5dwVmhYkcOCllzCFMifqjKD7QVAxX+nFI50HX6rBgnDOB5ZSFtDIFJHVC7HhYlpvVrr7Ih8J8q5hq7eGxt+GbQEOHIdZFjGRMSRV19CwT2q6P4LaJ0RRTDH6CnQ5D85gB2Z2U5w/xQR0PfuJ0R+2WRt6scNOamzkSeTOTV9wMrpFgrzsHJNQbyedTKAGqPPKZVDG/SVFoeiouBtgem7ScqgduxjyJ0Z9Bmx/VxzftrGqAdz3dGL+QLZPcS6SvtbiPkTrzmaNAUtrIGKk+CvkHTXZe+8oSFlliKetO68MzRH7dq3eUkBfYgduWGMS4H0GsIp0hXGhfv4P0Zug4IgE801xpZd3AjKiNFLG7aRWNuE8ZFOknFE37/Hf/63qb0/AQeYk9aACijoqTN71OQqQAwVPHTAz8QYYvedWeWSrh4daTKpDU5gSRhi6XwzSSbVdpRbPtKokjsRzYHNYtO2wsbFV1devtB4wk/V9o8DsxqTNEXgVRZl+KZRx1fR2Ajj/97BqRLx8JitjxDfYSblRiflFGR5DTLlSfW0js4Lbzw9kiMOB/sNaHdm2udXngvPFG2BeyQWOt6yTlkCsFQDGWRVujDP+tdlnUGsdBeOMCyFNbLmak70iuaL9imIgC5dl48R4srSO01ZPE2nCvIJl9wlaUlCMZqB4wCMX/lQIn1lEmqdApcIy78zccbw2fjB1SswyNiXZ4cbFU6vTif1ohBgqSxNjgnh7Dv694rlzGZEK79wqjDBTfGUCDHf96nrUZkhggKxJbWbh9IupT2gSMXc5xfhO2E1BkWez8SO9OyHzQdEyhWiRzk1GpLDJbkdlJnqyllJCqOnb3Qty9X3WSOzwXImnEYJTU2GwpJi8CzLRsXTjnxlLjkj8Wz5kgfywVdqpExm2rHMFHR7czvOSfBTHHb7z6L9xz6sYugcSeXk1bTR6ZGpSdRMuG7/MgRGB6HkooYE1bUlz1WUylcVOB+bOwcSuAUnrv9UsEcoy+gdBIYTcFlLQCyFx6ZCGq71MeoWz5xGU9GAohrMf64q/Tqq9IEf2z4WyEpvBs6AkJI971/ccYMtFYOsjtZSpa+pgrI6FAMKuW2wKQfv3JISVUwa+PEgbF61Dxze7wi7fZQ8/+n1xBfdAkxoTg8NlHX2UhGcHjJ6jNb0gVXbhdvqXiYceIwL9hKystwOm7dvsn8vKmhGN8ItAWkuWYFit0X+dQNvjGuEVS7TdS6tm5i3WC8MvKXkrj01VpMTC6RU9waI8A+Eo0FEUw0YWH+qvD28FgI5eSejHmUJAX2miho/9u4VAckLkWGxf0iKBlNNn3ghj0ngKqtw1I5mwZrrHij9OcCdcJ3ySrASCjpdG06q8ofGyfE4TLHXP/p3kmodIKp/Y/nREwG7L9LYWl8gUEPUU91BO68rmsstz19MhJaBXCLzvTDzrAkYDoWNBx9IDORskp2VJSmxQSmY4xue6BfXiRuMnbZBRIWQU3q5zVSzTdMWTBefxd12AA4sjjTBh0whCHXYuBj26RhymP9TzwM/dg4FazMBGDlxipZZrWYEMoTGPkZl3dN/qdA5lmq8WVAWRqKXQpGwRIpkM574/yBcUt/vtiWHZxocf/WJxIByXZAPiE6J5RukpJtzAlwpEv1ej+s9TRxFkB/aWh8UFpVUwkJZt5iHD1q1va+2ongP+2ZX8yOhmbq5fjf57laiFl4/QmkmX2wALafEpowSBhlIIqtVzTvmxi9/XkpIWw8T28vsacUREbnc232msMEir5BKZsqqYvTTddlOTDVFrkuL/EF0ewXNvIj6LMKs2Ip7LAsfVwOaQbD3CTmVorBjS1Anx322K+VTggTc4RsHOreuP4JAvtAAbCSXCNZu7EGXCMgGr7kUtUFSB0gqns4jfi2hXiTYGqPD2Vvf7ILk/Tw6jo7m+7QkpN094JceY04d//PWb43VxvCGv6Jjkmk8gLHvEjuG3OKULCwHi/c5HKnL+WUQxHx44nKqjUhvs7Ij3AY8vrrIknvNFPv7jC06CxtXPc3MxI8HDfOS3H6iTWBQn+g/HxEoG3EkAlOF1kYkSGi2vP9v4iGLr43ZGFrppO8KI84KvLRrG8CPsvR/9spjW7m4asRUMK0DHrNHFACMasrnpHyMN3eQ3h2Hm9rKoOrMZnYUgiYphNvKGO9VSYmLeJ8oHXyZYXVHnsZoF+teFtYcYkbsYUmNOgJruJCWhjchAMzsaryaq5FGJoZJ0q2jne6oo/dmbVvQMEwshTDUJVbbplvZ3SfCW/rVNGjQe2FDgaB0F63dEnw0jWmS+IEPsV9i9ZCluKS78kSVFmQQMiG8ECK5g7E+AOkbDxYub05ACJ2zFimqyprILKCTORuC0aFv/WD3zCC1N0n1eVJiq+ytvY9QdnNqDh13uUayBey/EjC/56mE2Zkh19g5e5uLdlPZFA8/84KzPwUwKJGC1N9j/ouIu1hnSvFht3w2OpksfJWTLX+JlrR327gVpJ9xSwE3I6izWyitSAq58WaorzKy6lAoME2WRcxXgEsMeQRtnUtDau8pA1OmoVqunTdE0cPhctY+A5ZHP3H5Ix8wlix5fFtnqnvo/WV9zEr+1csZbc98XQxXq6cOMUZVQF8ucEG9QsbvVLK8eXpn6lWQ1C3+kMlgjWLMmyL6GfZz1TK81uS33h6Z4YgdQ7iUE0NDBc7B2/CAc4GSbWg8NELO9dLndSDefvZeFYOPYtYrqhlBLQNC9rNgJR2L13Af4+MGXmQxb/zG1l5lhl0iK5kGhmt3WSF5ol6+Xmmz5hRD9EUBkumkR3RsDTafIwTlZ7JbCup71EQOl2MBvLcVgQ/fWgd3Oh1H9jd1wmzmRUVzPN7VkvgMBeIyf3iRWdYJL61f6XLj/uJF7Y2QouroLVzoUqPPxjQ9w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21858239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56B0EC-478A-475B-A5B7-CB13E6300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DE PERFORMANCE: CUSTOMER SATISFACTION</a:t>
            </a:r>
            <a:br>
              <a:rPr lang="en-US" dirty="0"/>
            </a:br>
            <a:r>
              <a:rPr lang="en-US" b="0" dirty="0"/>
              <a:t>Complaints have spiked since the VTS transition but are trending downward</a:t>
            </a:r>
          </a:p>
        </p:txBody>
      </p:sp>
      <p:sp>
        <p:nvSpPr>
          <p:cNvPr id="10" name="Rectangle 9" descr="Enter Chart Description Here:&#10;&#10;End of Chart Description&#10;DO NOT ALTER TEXT BELOW THIS POINT! IF YOU DO YOUR CHART WILL NOT BE EDITABLE!&#10;mkkoexcel__~~~~~~~~~~False~~False~~Falsemkko__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Kx4Liu0Vf/iWYdywXQKWLULYfwH82CMhsu2xvaBu4eCSZ/EOU0HVP8gZZiKesfcpyH+ixTj2zAasQkt1P0OnQORCyh9E0xO4PqlQJmh4P/t6VQsHKQmiw5X2/1vCaqcIBOdc/WewtKPIONUryPCtZO2pM0hEhl6yuGMFWhv0VRm7MKiomDz6IhQliwwK3YlLhBZ7WeH/wIamK2NVDKF2aYDJrwzog++w0boEEsH0huSHpNItd5GS+Pt3O8fCVUicaClM72KycjHklrn0FPcMFASTYxPaQELh11xnkfE0eDx+84S+CTldmDWx9T8vhtwEL96AGJoFF3gVtYk+5LBHVXBpP/C2R2nO3CNj+i6Ncmf6yj652pnfxLfo7spA5tjPUM6vPDEIbvlxsODVAkpL2RfqPHa7GMlRwLJBxg1CPkK/x2cwJ803GaHS1E8mlajrrRKPpBPx/1a5q8gvtAdpWJgAbA+rhChhNfFi2sSXaCZt52Lm+XV8RAYpk2vYak/ay2XRw3PcovF7OokEVWrT6PCtpqoZ2mZZM7e5dKAesB/FppPu0LiA7cueknWRaIeijxpeH8ZUWl60QpHCaCHK11s8sZeA44N6meMEZWeums2+Gf7WqIDj0TZo5jXJr7BBakpVVYXiVnmMP/1mM6X4IbKEHwjYrGYI9VPDNnKKBmw5byx7H7vIb0ZMqj1rpR/oKwSCiAUN6ewMe7YvUfRrzL2PrrRAyEOva1KQtwXVCK5372I8O2btGqQ6R4pgPqjc3HknSdsskJYPw8uJlBBS+BMdmxTIXxaPqr+Xlzu+2Kt6Sq5hqRx9fvUBPu7H4pynZGIRC0nyEjTRnoQmpmFN3IOcJ/VYbEh5ubF0SzYMNzMV8z1TUsI5KMYrtGPjmIRuOCM5/5XSqSqRkyZoV9En9YnXBAI7dcH69qzv89IAG3fSt6ERKgse+k7i5tCDSuOZaYXFy02P1AuLBaiH+CDhDUj6cFuRvVPbGYoht31mwIdCuFuvLCFmyp+QtV9zXWtmCdUhawB4OUHlHgoQNIfWGS8Zzmf8ohcFjC9QrbnJLpSM+nLWkCNO1E4RAmRKsZQt0WpW6ZEg4q/0I3Ugkc6hJhR6iCudNfaLKyr3oGrzPQxiaQMTgGooDE37FF4TJvHPrLoMusEmAWlL5kUSBaKgZkdOvm2ET6MzX6+OpZKaQl03lm1/A3wms+9wCbDwLD+hOEJMg64rHhs9+a/j2Lrjd0YlD+cW6uNEqxqjff6onHehhtvSfhuR8j5RJG7vDuHMwRH15nSFbmIUoFDuwWaamDA3OE2qp7hS3+6VPH8Ph332CIq0OKRum59Cp2UMX3mezQ7B6vhfH6dl2bYvZm0fJTg+SE++ni6xKRU/scYD8kJoE9de7JyAVmPv8uLKu6omBk9RHXsGY/XB4octelzLIy0d7k7ejGErGjp7P8WQjXjerUmYG4Wq9vmuLnrcPcY8K71YnfUkNdJQQ7dxm6aPZ6pEPpvk0kv5lvtiLwfSStaAx0DuH3lG8JX4ku5ZnpwMznfnLngu3KDt9jt0Djci9fNNKNXV/7+WXeqWC0wOsPwgHvXrr8okbHDhoq3msb/UMhwFDwy+DWAu3zqm9FjCrB1NFX18JkakKeQyIhB4ssYi/7oQN+2mcyx665UIldFSqqEOke0u2jL10QON2C8XjDa8iTierpi+ac0F22GoFVZ9KzvHFP8UHS/6P9E8PDFlubXDwcLlUh0CpIHjiuPeawo2ASOg2u6+pTnWRioZ+WRMokuCjYRf1WLObRkcjQ8Tn1zlMPfy8uMPB6OjI7/gUw1YGb+ZtV5U9iv/nuADRkieM0zM4WEhXWmobfwGHaFBClOwt8Fa4CAAe0fmEYEEwv4LMACvE1K8Pj87x0SZ/8MSj6l1p2qMWmlxMXOHFzbG3UOV2wtr/2xRXRwJMU5dyWIYQx7Vfo2MfUR36LNQido9WWyfHNOpoqmngPORMrNqb3NSWXf689QG5O/Z+/lR1i6a8NHwkZRooA6y9rogrW78JoXBlUOozf2H/xWKU7XU+wIFpWysH0d853YGKrthpdj/zGZZUuFJJW7ZwfVG/JwLNgX/qsoq3l8WSClkYdT8jPCmLWxh6uj38ITgq4/YlS9JZ+sVZQvoDat1XIceh/vGdkymkKlbrFJzxYEJO4gLCa2SRR2h6S+dwky//zxUidMbyRNSWaGds9zWb6jW6mwyuoZDSa2Hp0UFcrn8x+SP5PsLro8PUh968zc7DExVCoh2Fzfm5KOHcz/Ann7WqJnPKScP69XoKJUHz/qnrFXtNnyz88/LarxufQAcwHWjUmlVOj6zViroyf+Iw7GJdIh/lvYUdhE35OEdEvr0VpCmvkH6CpKEwYFJ3wOPGBgQy1vpDjtVGcbDRAz9gkRrREq67bNW4OOVCle39BualPt2hOZ1TYFVNeXQxMObE2l3dF4FUOAo3ls6yh7eiT4Se9uvKfyXqcarZhWdjLaLjm9+yLH3c+ibB1Arz/rhU72/bYpSsisinb4D9ndwhJFSR7skutUCd4o7cLeBKOy8DQ05/rmSmMZw9iugrkdE7miG8sNj3+6ljIi/O9IdJ2IkB5zj0tE+d/dozPIDy9Fu0gcD8n2ld5/pcmc+VWUg3RwaOHLku4mOKKclHz5DDMIoW0YisNSwQfHnvf9VmNmoPg5r+iwC/aTH77bWzSv8U+z8WBzK0bLqcMqIoGDWGtw77M2iarg1sNIerAJX/IbDRXC8Xek5j/OuZHtns19ZeJIeczOS73AwT4SXnanfF6U87EX/wpm8pTLHx+uU9UbMnFgOsxJnl3imUltRkr9YQ6YHd5Xn5L3nGpc4Cu0XYBM+oPgcp03WlZDPF+PJgbTSbpw50eEExjUdZzh27THAW5pql0apvoJFwER69jPd/aDC+d8WyT30f4+flBEmC93lmAgtKGaA9gxkY/KvHoggBqkfv19VJUywD9E43O1UoqA8aLpjYG2KO2MA2yqH7C4Gq16xljHjLWKjq3qsp9EnYs01cnewANlbwIveq7FjXfr8Ji0yPHGmmXAkva7VT0F0VC6qTMIIEdntgtmNgwdcNdU3QskhPx+gSQV0nkSrFj323QCwmujAjgOmutN7iFyjgglV9TtjvjZu/3F6XX0k3Ndmg/GcvItynz9Qk+CwXXpR/m33oE+TKHk3C6KBOoZ1u6fNs54Ly6InBBxxxNWq03CEivvRUvnsTHcq7hVImLP9ulwXp/I15FYGmDMSgoLAJrXkYXRrwZRpr703k4Zq3fSxASCPYIWJIm3Ypx00OQ5bGyd01vu0eubnK1T69yrS5H9uL51SPNgRYNukGQBuEfMSA1fDaeO4CnF4fuB5H77kiY7Gc0ZThn8sWJZUseZxPglVlsRjrIr1pgUAmcPxHH3ojV3JRlatW+URvqB7oNRa5pchzCqzRkQ3SmOS7fu7Nk8gkDqZo2enNp3Fz/47HCfYdNUYgWhkHuZKtEJ6oMb8I761+JJjTFjwR5gmev5VHcXY/Q1g0p7o0LH02KnzxJS6DGzErnCc5KL61cMFIcS1DUdMoc7zfTrSq/PgUV+mFbxk5gFUVS4zKYglm6XQjVx3TFWyLcR1JfZ0QxbB/xifQOzfTDPzBaXlxFCCJmXSdOts2t4OaQ0N3X9Swo0C39Bkkz8jAVVC5xpwTT+5MamhkSbi81uUcaySc9RvuBN3iW4Yw6yrSDrOKQWUtoW4VbUm01fqsdhWTYjwJJ6iCLFirQBXJby11cZtxAbi9IQx20OQ/Bp9cE/mCxOH3lN1wipzslxj6EXDShGBUa5q5U2MsUuXIfI0j0JuzLCfrHY099ByXg7qw/4kB3Yj1NZ6jokDFm3XuxFI9dw/61Q7CPpkmw+YU8m++ebYAPbDqAmaMEqCpkV2yN4OzIyM0Bd35orCSxuOQV/P8ny0LIDS5j71z2BUWla+Yl8uU8QtqQiknPiFvn8ISc1khIwiDFZY1xJTjNf4OTz/T4eNkBddhPPVnCXtyCP+uG+ByZWM9EATmabHf8ksqrcv7DsHCI/sitWnX7gc3GEyVnRgjBq1YYDGc4HM6pkcgmoKJdhfKGP9YCUoMKPYRRkeVEiBgNRWPtT51f1Vb0x8lJCaDhe6ZreLAEuz6oCFlw1l5ugbeH1xFhNeNREkoMhvGKGJhi/XoyUImsvTqZp/i1RwYQy9L3gAVNngkTdzkLvLnlDmAbpNvf3vN1Hp+SKCnXAep92EFHKyziMK5hagttQnberYmlucgI1up1fEIy7qet1GzujDjO/50b7qL4kFNW0mAOc1Ia1Lde7himBWxH4jL1S1xRUK+FfJPFBwKQBgDgLY0fxeBkeLUBfnx1sc5pcqAhow9oWROFyoMyNq9r8V50h08EuYwyFm3tx7aadL6e7SWCqL0IG4oamOyegwVqBnYIO0qAKPtxztoWxun44bqZP0LlvVL27/BC5ZEPnA0wy+HsmvspRIE64OoMsVz6MoaXxjEVm2G/WtTS4oh09LtAdE0HNTkAItBRzI/Jxji9NqlAbVWcp6Hoc6YDUAImMg0XZgYsUTM8Tt3QNBA63V9MNV5lMAA5JSPlBLQeH/STF032bC7GGY/9HDqYkXIzXrXUAQlrDa8+07+VavKYpsfDKMhauW1wQ6VcAs/+lHQc20NXxKOPG+6VpU9OJrbC4UCzLfaxfbtr9wQu1deAxV00AU6m03yaSYsfEWrXYbmp4/YiqWwb5aLiQsXfFBQdSNlBl6A72kp+piRQ5izXsQuq/NZJMkK1K3yo5avgVuHzt3JURSCXBtAlvuFS+bbONK9HNldXRgwAuAsTTcEty0sMMPsLDyr/8fo+hHiDpmrd/O+74sI3cRs+UZ3bbER9CJrvtXIlCspNcoClXoN22gseATiEmV/DPn1y9QdqVIT5+11N/U07UKJbFaqnIbRzrjygRt9/r08ksq7ttDeKz24FnoMA9kQatCcaLhFmFp4aL2UXNgWZnnuWlrJPYj4ozQcH/YqlhiIydNVFJG1swhf3iQ+oIyoTQVdtjSWyKUelpzoBErKyyEsxqX0Gtlr3vS8Kt5N23fkOlDzaTPCJCNtaLxulJI4kZautfkBlXW2ESjFOcjhJSl7FudIROu1royoFLZ/uQzxUaH+uy7dOB5K3kHXMSY1fCsgrRBsBveJsylc0/DA986FkqvkiXyTZNmzGKFQUAnrAfREmlQ+wSuBn4DOKlCOHtgMSSPDTvEjXmBusosFRqEfTkKV9efpoqKykpSzH3hNOQBH0dyMJfeMq+Z7adxKqQdNTVEXhgrK80PgrHA9WIrcREjVnrbiu7B6gGKHxhQ5FjgxQ0AvL+TmBHlcQThlbWOseJOfkxlqc78fwJUn3TF6/7E/NZDb8ltiF33Zlc31eVuczphGU4091DvBpzAV5Dg59ieDw22oE7MbYRNg8lh4J+NJoWMkMnFBHM0dNKMzMjEFNg3oabHFMmuoeXEWaL+P/X65eQ6GbEXp7nM+e7ZkQv2QVynFMEYJt8ogqNGKC50ruaFsAvdOlH7PxbbbhwIu8bFYyJh/375u/wxwkODVND9y0tdqxruTW9h8pXlow7Q59CoHrYcxPK5Bb2+uICM2hFCj1vyEkIBxVQURmPhH1OR8gMmQH0lP3OGVPgTEdhdI4jw3z9HvTVlkbrIGZXg+WUOZ5bD+ybWLn94pCjP1XJXRq/lD+iT8LcmSXZUm53H1Y3d1YlUVD7uX3eJIXU4VcXTD2Y0TtqB0OhIvvRNMQgKv+HPkWeDgBYCmGGDZ6WvdNVwpIsOFA6Lpe9q4lyoml4c0c5RmK96kUlNKmHOIyWDhM2t9CZ80PzSxyab9dikfYXhztZUTbVn2SFgcC2CEpjwvv6pZqLhaVc73TCFvDCXxUCPZbWS7eY5hie0LX7qaEghqOlIQ53zYZhdSLuLNvy+forlThdgnaAYvMliBsXOuLG94hRS75UazggkctUvQNaY444A81n68X2/tTxa/zyNpEA/vnzCGBu19B2Z+bQPRQutendmVHwAV6AiO8Y1FJ5ij9G2eMaXs7LNi1anzSD7V4Twf4+qJpdv3eRVS+Q2H3zVxFJDqfSXV4y3DNIjXhCpoBtiSld1ZQ1Uygdj4z0MgL1RLoaRPs12LyOKA+Fddshh8TTjpdRT70wmjsFnNW8HA3v86AsjKPSHDvz2iRP6mKb3JWn1Mi3Kao2a+T8vfSxSW0qkuihQGM6hb+dCbtx1LOXWMj6ISNhCNSkFaYUGz2fDh8h5csRmIqRSOzsv01hbwUy7GDpkUgcG1J4tGsZUn+UfxscDbVFMWLSf1I7qXLNCDmmciH1C0bnmnj2+r58vsI+Ig4uG+XaPZ9GxB+vscf6npfExG7DJf1HjyJLscy1KSsjjTe4uf25zaK5gS4ij50MT15s468Z59iKTUnIcjVM3ov4Tewz9vxxYXQYqT3USvK0bCQ2hu9WKj3gNwI3DMvpA1cKm7Bveot+T3I72qIFyCW06aZD0d7d/o6/642H0a2EUiZlHmAtOjdISHV+UGLE1oIyYVUjvvZ4MdTb/JdHfeK9Cn71eQx5Iv9E9HfoxPb+f3jHzk3103FoZz4jfB8Hfw9+j20CfE/jPI4tLpkxD3Da2m5eREKUwObQzTTHkhJYi+gIFkcpgxazZQZOO6poidvDd383twQ3y+tLrfsyVYzTA0shzMNjOMLvYy5ZkDQGaSoL62EbMKKhbi69GHLg0TNRM8HTLZ1O9GNB5m0fitwJO5b832XyO6h1WBO40AKdCKLJlSLY/CbIr4caTEtOLvfR+eA4/TBAzenOEjB0hgTFnoVQNQbWxKfHaVs+BJhfSgRLFGWXIYXco2FTE8TIiwEh70PkcO1fsQq/sykc8vhsm23/dRzVa1gOEvI70InE87piZpuaz7ZXQ2C27rZio+savIKl03/ZrPsBZU3dOm1KVLs8bC0JPgWSBaclwA3FR5UF6rpYx7Bii2gPm7E8iLVNpOEmwZtCQ1bQN7gk280tLHQaVxCQH92BoedATCmuQlvpeuH2uM3G66RgEqFLV82GHn/JhVwBenxOYCWGkkX8uNBFJuq9pbIr2WSe/S0LAdIHpBDwuintqFyFeprcfjzid2F3n3DIW81j+CaJWVRi5l0dyXKxND2CYbxXuSiwCFZg/adQ4mGCUu6vDil95clgEf6BTpXaDqGJFrUTd7FbUeY9pqnwQfwjWTZ7qMj6M2vzb5fJb2MNhzfet0BhXIyxRf+mV+Fb+r7CRZS4pWLoXXMnJuShhfNxsihApF6Vfq3q52+pG3Y46Y960Bz0WGEG2/mwMvOQaURRQ/CkPlCzjF5nwKLBjU6fyHaNdhCO/coSWUdxXEe2+9UcSmCAzkJ+O0WMpuUR0zBXdz/EjQ7okg8lrHqBCJky2c6hvWwtyJEOhk1zeb/g2jJxXQv4wBRbWJouHjlQ7aWwTEG5QM9x7/mHzSE1qN6II2uQBJZb9fe3fcEuIzVnKEV4ULJPC6j5AXE2QA8dkowt53Afyi2JZmDhv4zMTVTpTvbKTzDsKX7th4TWePziuMHLiRbJENXI45J2YCASvqGRDdeTvAAGiXNM3uZeCAJemr3RWhVWvmXfsXyWcKNSsUog48XrRo7H7GTrbcRq7JwO0ke8/hzJ9mSzo5BwvWZgbPM2qjSD9vEV1XxFGPkWg68X8cFYy+AfS16hrFzB2Lj3mxDFMvGnMZT8I29fRURmPzTp9TzVc86zjSdvT3foYPlWsg4oGvm3MFg01C2eC2dSHx/T0sN7JGZQMKOf+C1kY4dsZ7b1ddG7KQvjCOrZM28GV5oH2aiBmiVf0yL5bcXv89tu98FozDRI9yLjg3s049vMqA47eQ5N+lPuloYewsVxLhZfPkDgdeP3SLNPeoVFonHkJn0bVdu9ETD1LsvseHPHlchz2qjgpO+++Au275spb83QX7MbPhLIc/LCSvY/4IKy1PUx9p4JL8FmXOJpIN1htCNH5d5tpPXI4cURbwym/LecIY8sfmnIUXnATkMVbqVAvPLkx735kzKYR4upNsGke7zbV/bfkqmIXkpB7yZ0+iEQq2dOwHDTlt8Nwd7KkM2/GuJo2rJCfGgKKt23CEk91xJjENTf8exKSlMQt7feI0wKiVPOFg6gamElBqUJSB7hrFZGZBM2BKqJc8h5AYfNl3/RsI86teC+EoTNoE5ME6Ik2ISOudN2kz/u+a2NuW+5le+pov8xkP0FD4fK3oygIJ9C2nZxC7ni4tyM7Cgn7U9N9Xd+1Hi0m3OscRLytFb1b2oNQ2HanZ2TrsYd+q2tNp16QMyfsuFpei5hs+fy6rVPg+gVtvbaW69x49pins3FLSvol0lpngwK/pSB+uJ1RiwZp6IM0CXrctifiMeukY7HcksTXHtOiesGWZnwhUZxBojgTrQcb/4YrRUMiDFk8Sj083kYHPNBLTI05eWelR5HylQTnSnnWJe0YLv0DBKoI2aP/ux1MIfgvU4BrJTlqEXZk1WYsEZesPJ9LCcjo87bVL3vSxIrpkfMbK6jvEP5mA4KrTEJy9G7b2ls5VMaV+DVe3MF6NzqxG4elozx+2F+3mGYKnaZXDMZ57O6g0UhEEjHbRM2+6hym9unQQx024SiS26owjVAhP6sm3wIjGOFT+/Gb2mXkmBbYFNvrMYk0VMX+l6+MoIMSxDgKx7IsZZblhQpEG9SZ9i6Y0LaBsQxXuM4B5aN6SA/eC9RGQ0Fu3RJUjuN6YX4wL4me1MzWZ1pHuyD0umGmz+Z7Rk95wjA7RLY2V9plA33wkF2NibZ4C1jTwPoerW3DmDscvuIQjkmyC7cYUSrQOqKBn1WBwzPQEQojNa8bHdGlthcW/rOWmRl05z92vPoWAj0PjFt1dRoAAwu+KVig1CQPBUEUjOSk/KjYi0LC/TkT2583YDc0F9aYH1x3JPe/P5cX8nIyvbmfGcSHdyAdFwXn4wgPOuUswNUypRBUXyJo6+7ooVnezDHgrqGvCcBEViRQkWpT7/t1cBL4E6sfYv3cqmCwo6DD5QjtJ0r/hCdXgHTstefCcoaWT6jyjK/hTgNRd3OdQGwArEwlzgxlU6Vg/kxJPP6OfAA/4ptla5o9hb6peQiVbInHubF4GFo8YvofpLnOOv3pEKeAybPdyTEwA5xf2iwWeWa42rpEwxju/cuhDscOfWWQHVJu8YwhNwuRZmKeh//txt5nQ1jBslSF/qqDpsEcUFdhMLCREeyzxhs2/HykOJHaYR9KoPTU76xP5pGJot+tQk6f/1KQM+55N2vESINMGVH2lsVlCEaltQUcXPDhUgQLi1x6M4uLkLMYfK/A9MpLeHUvDY/ey6obtt+wBrb7tw/SE4y1K+7sNraa1IyGPW98+RLm1xv8BvjcpBLVKC7iq1kmkLjZKfBXaUCAdtDALMkY/KC5IqvCGcH2BYzWaAvrPzfV5AJZXevwfWXXqMJ+zbIoi6E/v0eRCCYERpx6AqyCeekwzmmw0pBYt72bI0xcSeKyBC2h7T/FnrkHH9Ax6TgwQNIAl69YZpb9f0GxtwQ5H3sKsm1nNrTT1dY3O5FLN5lrnf3x6J6hUEuUzDr1GlXs1QQvbnDUuoXf20j4r0A7U7FvYbqFjYSkY0jczOImN+NxlqehZ1MxkjU9pRkFBfDRjfVKvJfXZ2fIhqGgcS9+uBVQYQh1HGBBsATWuaOHq8Y5c5n0uVD4HxCK0BP2i0mVsc2PriwtNs5c7d8qiCgamINUSvl1SVrKOOpmt6mq3O77vidEPm+fhRUzbrXEBRolL4p7DCKvMof0gNixbHyPbOUn72VzYhq/dLj/61fmJhV8+nbmXThUXNXNg4s07dz7BrpHxjLvBPfPcoqtfSmrsMkezDmronnq/4mYF7GhyNfdX52Lzp+8U4kQwWVWUgELdR6DoWhMnpqd6dwe4Nm+Itp0tWQ9ljxRYXnEPc3Cice+eOuEi7lKQlDTYVQAEEi3HoYoyU7qMVNhH695uuFynM61vrxyRZKbR3l3mpxCbPX9FYzWym68etZhIgcI3XauLYuuDgOblehGEXyVnlCUlx0j0pyynv9rXwSZU6s9g/deGIowAMlC6/gA641no3DAjxk40WGCns/lanrued2VaLiaAYvcRvBrVo+0q1/bUZfgdxB3I4XFZFDBTWKuEYriZZ1eID340vjqJLb+bUldQvL4IV8sSV+atVBfYExumUUaEcQ43KSVBrnmGMQIU5nPsxmMc+ceRYoLXBwQfTc3otnbD4xd4TaUoCPmnTHuLgqKn5wKWQNGGytrOGj6zW1+PCp9YiPvieRNUv8LWWJ4iWa7mJQs2VZZ+rcrA23sIC+oTgW9xTqbTeh6TBZMf359sPXFNQEPmugUSN/thgJcs4MGE2FWDTIn6Zmnqc68IL+P000OO5QCf0uq1o+WrcZpYQfb6Fp0fBWbDdgfQ2ytgt+gLracxGrS/soIbd+6pO2VFZ2kR7vL5V4lrN994nLXCPUad6xrYxzSuvV1utGhWUd0IqaEVp71JWVZgM4bVfHXWEajfdMEyJh09VjXBdyUMU5X1jOdvyPovzrwpjaAZCW2bfYyjW+4Y2cadutmbQCLwpstAnuK456oEZY5KEWz2e0M4qC3kKadgudd4j8MFwZu3UcGsilEEQX903OYHkhzvh2QlPtEYT8l4nAB4JY0LRY3gqA4sBDkKRJuc+d8uW+59zQ9l9Lc8H9uID0VQ+5nmZRh8KNjlmmpy7JE2/PK8XonU/T5Sn7JAn4qJIKFeLmyDRqryN1exst3yIUH8/GthQh15eDn5JAfbAILDKumt7eRF6KCUkSFodIzcp5i4PM4ix24bkI7yYG2+f0C6dndraK2IKkzdto5t5+ThDIeZpDjbc7JNErlHEdNEYkxPm2akf8NHupCGTUpk9WFI9iznNlNmF4KzFGeb/xzkDnX53qXWjEqL6LYlZMbpNLyNLrXQyZqPwAd2X6iqED/UKdk0sf0PMMOuGGbjaRoRT1qL9Nbcy8H0IKX8Cmw/ZSmaY8kKcuZFPL1SpMNPD//x58lLcgK191Qxsz0FTXh99fqHZlAja7/kCaS9OY3N93Bazi2sNhMItmSQ2zDR6KbJWyksvAWbv8xS1YEzKWFDZrrGaSVblLSmnV/3BK5Tz5I7y6g+jGqfl30diNZk0Lnk0HD995uYN6vpizfvExgKKaNm+tE+yCEH6rQQB/KF4WXomYN3pC4TFkivCKDmFE/gXfOuYpalMJ90gFZte2XuozBZ0KIW9xrbI+eDHmqTazDC9YnWqC8wP1E9bljER5XlMrWSAlyRhedDa4jRg3LA1zT1AL0at+u2Oe0gFsTKqatRfMGmpdwTz+R/TGRzoMfhLl/a+TuMHPGqF8s9D6Ne5c1FUD+CPqq6zJGX/nkSF/rjdU+MtoGCViiIu9llMQbewe69EVxIE686ktpC7AzxtnKX56x0tjr9J1+KqkKJZUhTUhdjBIZYqdB4RM9tGdnf/DCgs2ZcFyajtfYGZGQ+aRvTp8EakJ/SQNlOjoemcK2soa+egKyhAZLZpTz7ORF66/kyx+l1IM7Vms/nJ+pHu7fBSBiCEkejx7KOqWKEvHDWl0A44fchNU4rmx1OG6Ix5t8Op5Is4mehwxDDz6ZLupZ2SwpElM+MWP4SL0FuyWA5G0wZgfvNd4M4u3MmuCfBBmss96+H25S/9KMEvEN2botY4lc9HNOM7q0got27fqWXRjHepC9ILgZnH1Ydl2MohTWTxICi4zKy4WLI7sjSLRJSsUcGo5cyCf0A+Ls8X57z6VwJv0nmCDBjrzB7aZKSAyPo7CZ1P/lz9blU4VB/0odXN3AIgHyqGuzdumzA/vdHxfZRgYx1Ek/LF1NfLJNkmIqKABxrzPmnHQe8uCZa6taFud6RrIgOSsmpqXixDxnCfArlef7JJEw3dLLo4uP94uodVrbn/QrjsZY6sUopy9uB9h+bV4Kxv3ikkn8KeMwadGtg3y2SQYl0eqWNKQUgOP+1QYZVCgSbq78xRvdFffk3vcRMBDG0eEVu+Ia+gQ2jZ1kBglGMxOz6TDbbSn6CaS+wIuQ+TiVaLtKyXGr32aQBr+6Ym6aLr/Lhzy1M+OYaXJH5RVgBEYnTDoGqJC0oRCMb0fiWOaV4qyzPIrGuydXyC1QwjpL9For2BF2+RRiovfSQwwDpaG4LT7vC403asBvjTVuUQrSMcn7pkGszaKnsytRmYpORtn4UB3DV12rMKaj+L9WHNAJdwZRp2w1JmpyL38VbYznhJdd2nsNouDZSgODhmFTKuWNss6N1FVLrrf4qAucIjvzNVeDBBQHc/kMXyFko71qTbRSDYidyrsLuJspBvistcLw/SonGnIOjptwF2PkPtJJvsOH6bUcr6n3XBW0vc5yxxQ3QNCqW/Aj7jPTN7lAARYHNtx7ATKmCyCaKpPOZvkkjQePRv88CRIGCpVMlFpCT0s0VDgCidVfszl23JAOJrVYd4K4u5aYhBT8+KH+B7nRD5dO9jZUuyphiOc5woh+vu4xGIVaJ+b2Hv0ZuT2mqf3DPSHOUSVOYnvimmstLACDX7kmrYPXkEk7WTdRMZfekUWgG4KlP/YteFouMBelv8JmCoBkChl04vjlCI9Ah/cMZ6Itb57bWC9IiDTvTe2BuGfdYTmRzTi6LglqvBBgZXJ3v6cAvCFMtFarGZWmzEea7WEarqt/Rg4VpkqKgEamB3ubjFixEM3kRSdJGTrNtIUXvwQ+QlaicZlC7FpCmQgryJtRyRs8xXB28s6eadwzzAwm0CeAVXMwKh5yyxpoFu5w/5trolavfzY0TcZNRg+n0+Kj0aw+7hbd72gnmwyf6GLRvyCIdovBJc9rRNvsTYRRMCs+B26gAQ7VsR/0ZOpZMMn+x5LXkcrjxb4zLAllY9Kl112q8yuXmG+2KFVzLVv0qY/Crgmv1YVKAqbkGCFm/rbOLPzx7YDlJkq4SLwVNRWqUpvB6BRNk8bJn8J023ptbokVzVUl3NrS6Y4ReEIhocnUwq82vbiX6VrpT4X8b/dn+L7+KQZoUOoa6/niCBausgkSfEV9xgH57OfrSmZqe134WJ52mvDpu90QDPoDhrg+g/TiFyyCBcnUjaq1Dldhyigm33i4JRaVgyiEFsPlGHBmdknP0dCpbkrYKihRmpih6p4UnYbtzcn7PDvpeEhFtrlzyzUs/poWY3YllP1b9Wor1130GsglnBcrJ7wrt7wp6laYsQSEBRTkzwSx4QHx/WYvShTQf0fmosj7mJUDTUTap2PIkBF/uNM/rm81gLfeyvPutWz0/iSNLTFzbsuVrP4Rjq2s2q+Xx4wQq5DmItW7p5yiDRK8Pjl6EnYjHXDzLD5jBQ9gEwnEPdojq2DV/16170I/A8GYPqYtiof/AHHPFOPjBghjcxNw1uJ6yPcOFo0FDzER/pFWNJUHTXbuzoI6u2xLl0jr6HMwNjqzgXqm8X3fejFfKLpRRXECAOLghQSzjBoI1Zpi417tFRWwGNpuikbN069+T7NgNAYQntM+WQ5BcWkmiblufaEVqR233nb+5b1bG+WG0wBRBFniujhqaRcBCC10xlOOFI6PenTr4dmhQx8SloWOGJKCEtUt+U7zPEVF6y5XqiodCi6ELtqVwzZMSnh861LvWNZh5ZVqGImLhmYArLBjTpxkBmRWkzYQy4D1psqKwxVpVL0FDKSRZRCXX85jbhkP9i3B43H21IxvW0iPLTNgJDPwvWeUfIB02VtIKGTox9gvlFAvKs0uqF7nmozC8bvjzYaWgWLbv0WL+Rt2DDtam9u78k18FrjggytoYg8s9o2jwKt8OghivepiE7vnGyNB/Jw/Jh5Lplynakk1oXlYp0vG2TCBzJcN0YyvFyPHWjUji5ym11gDYdMJSDKp7nLwWGzNKWXEGeNBnJ9QyUOhUX7nIqIJOtSQz/rnYVdTVSPwfm4qG1c1fwNrP/ssqKeyHxRSE08yf8X5PhJ2/MoRO7wRA3T90ayhZWDMPfe82wZ07HEADwudwf5BRz+Pqy6BEf0zbi7DUUDmGEvwZySFpXJB6FbG9kwB8OwUDMjmwIxdjK56opWGLNu+iXU/BcAfAyidyEDlrFAh8iPmfm0LtYpd6lr1gNKxOmTBVekANa26ak9OQwsgunqaUJ7cr0xVICCBqodu2EbVJZXYczZB41+1CpMKrfGotqgP4Nh6qc/bimBb5PBxwU4zaBdpuTQeCXHWih+YI1T/vE5AXIEmhGreqE6DQHGcTdaRqQviAJAtDcGk50kBo1LgrE4XuLBtECSt7rXZCj07vngYcy2RX+YtRPwyK8JgfuyvBGFfr2QyekCKPJjyqMyVfTX6lhRqby4BiWh9MlcHJgFA2FUeMpEpa55SNDQnfEeNFwx0RjB4E6FS7PCBaDFjYLIXpyp2+7DddPahALIhRTxiSVwW0UJgOuonc1aKMizI9jUSq/KO4VxtKB/J1Dsrr27V5xkDPfiRyjG3/jCUpjfGpHDEGuehUVVRaFI2oipG6m3A6AjiwJ/96PDXriuA4kTGuDTzz4bw9rCWWdncrVTK4QvcFZ+PlD6lfCYm733DdcthxF08JYZ7Tp/wdeRPG3fVggsZ4mlPhkDuXOjbsXpuuFF9mWoTMFeUrDuU9Zj4NKUE5yQnCTviZKoSiskLpx1PyhyuuvP9C5va8fHcsuX1077q+CCuqhqmgUo9VYqdsSL+LnwfNnyKjfeezR+H1eDmL8ch5WIS0QF/3RDGC+eeUhiVgebEYPMHBjlh5cVuvhiFy4bwePBzl1yK7wdfuxykyNsIfVzvZMXf49o0SE5ysDmeYfrWHRqCTCVco5lipAG2k6/whVCjL5foPcwX/V6lGrujR7gMJaykv02+NIl/uOYGAeIijgGeIUfQjkLPAqC+8bEAiFLEz15W0wrDKFMg5n2OaMeUvD4vFM7Cuxz4Er1aATB+T6sY7JIbptmdaapyjMaUV8ALbiv/eWH3fv8FTN0Un6toTmXPIZpJiv2Oo76dWPL20RQzHp2xK3SrzLbbwWGGQqcL9N1SuJ0eLSxMeFbTmVlXrFxPiCQ8zRgmu/SsXPztycPT8vhP28ADMTbmUvYN86Qk/S9mSwClZzSJYbP/U/dPwcT0y4Hd/KkZ8cUgU/Gv0JaXVL2nvms7j9XTcLNnJEBws8IXhJ7jK9ySY3EyDLlHlOZQUKSh429KR0WwnfjCGv10i8Kxd218Wv6MUutYmXzGZaY679HSjqsg7hyRl+ttjE1F8MJ9aTOy15Je1ReaC9oollfCKd3Aj1PoFVkc81ChCXbC0ytZDpOG0sbYII24+CcN7/H5ent16izX1/eN9yY++sQmt/cj4JrRnzRPDxagYsmmTDjJszgA90jFBY9j1Td3S6jF/GdR9atbjcR1gMQkudRzoOsGHzgg04mu94/7jHUYP2m2T9JIS2D7baI2EcUb1IRFbuBi85dEDbFKe14b67bZJ/epOtvQrOFxYFAXruvCyLUz/Y+guNIPPFILXR+jE0shbN2slIDuYvSGpweaAI0hkM6Y+1604yWrORrrkyh0+FUtRqObj2zrEtPmpFz8taOusdmtGjKbWYtUlRHkQXV9a3X7wTozlo+FVIXOIvPJ0v2B7bL+kVmwIqgIRnGT5Xv0Fn6gqA1uqm1VMyo0wL2YjVYCHlaI4JS754uM0M24BMzuABhoHoYgzjY/MxhJFL2tNpwozmTRnaMOVPR4ZTZun9K+HRJhJkaLFdO8UXkNHQXT5PiVQ0y39Sex4Y1YFWPa254AcYI2TN3hccHdbqusbdpwsXDjiMdbHAcFmHwUhm3PwEVTrwnGhSPNbA/RPAEGcine5N4xZs6v3Z1pnXZGy8LVTSpKRLveXQpjuxIhR6I0s44eJxy3IKf7eJ5JBy5raS1UBPAzj7y0aWceIQhVOC9tsz1H/hU6WRDYmUQJpOMNS4JrMeLlOwxccdHdPb8dOKWxMwiE+7EM3RsxPC3Mg73ZeL9yKd3CmT5LGR5iNWVLpbpmBQHc7M0KcnnOjdTSAX9XN37+SOG21so1MrStTx1JJelBeE45S7AvViiuyEU4Bps5AqhkfsBbGb0N6HMwXH6v13xdtId7HWAghFBvTlJq33wMPPqXPK5kFYl9nt0/Wp6qqKpOmEFNVC44fL7zW5Gha/p4rblrqWwTj4zT8drlcTYeKUhdjo4VKqz/qkYFaCyRY9Q6Zl15QCqAHsWP9nOxdq93zWB6zT7WAn6hXpAde3mS6p+BwDRbYoW308r6oVjigHjalJdpNw8A5QZAEsLkJsc6A8f4f/edhkEfpEhw+Ajkq6njdF2iHTQZQxUmyTUWkRF3hgwfOQy6fs8DvlZzbkon46ZZkfKn3meuijvKRvlxZB8XFeDTrl70FOsaA5X8o3zo4vKsEh3oUWaFV+/ybuimaQlfB6iXB9q81WRCoKneErSWxlHouIRpY6m6fQT6GQamA7wlNlGQagls9KkZdtLLjft1s8CfXv051dT+11LGpIk/jSC/RMfG2TLv+5/hOiBHewBeC5ldgMao23vm0HpUDDDfw+bfMNtQmUdvo+fpJF2LB3ZnkZ7c3yjr3xq0caD5AeAHFNs2zP/N/Q4UoQ7hephbIsTTy67IjKdQO9zPrZ5eNERaYmdmv1/ojLejs+xMpD9Y5QuGD4mbPpvLl5DSBj9HrPD7MI0trLWJ7vWUExVFUjfI0E/V4f57ALgk3HG2acbOgkdcDdhK372WjNilZg4LiTAZZvpeNo7diEzfV4UluLCteICdUybAX3d0ryZnG1mM+umeZOf4vyqDoZhiX8jzpLVwsWEXDA/BDWxk97hkBr56jTXmAG2eWohBjmIzCcYZlmJhg3eQ0tdKz6fo8arvK/zfDFCA76BOaZzmua7n6tqbLfWpE5uuKE2blQJf0GbHT+attDWGUuEE0ZmTQ2yc+6X+OpskVsFFWAsrG579akij65Yite4ODZtFnSw4oU0DeUIW6Rz9drUS0vtqm90OX49yBZJ1HmkcVJsxZdaMrJYf0Eom8fnSV+y2Dfsp2DByLSsLgofC45saelFOZAh5kDM01zly/7+EJDswPwpYhYTnKhmly2cZz0CunXtGZLs2n7WU3tvtv8kUK46tUP+27FCSQdc3egIWlMYWmYfFFW2+fg4g5jGCceiVo5z7VhZKltIyQdlhcFDUrZn/PJETp6PNju3rDvFgmpaDA2l8xtVeYHnKB0LoYaoJPvp89LzKHbivCBwCAZ3Pqc6t+QMWvnZ2S5JjLDY0/W1C6L/opSTIKVR0C6pRbcvqSsCwPup/5VCss0ziggGxulhfwmQnK4EWgvzVhZWaUqrYwP6B07x2xzvaxXmhUgmAh/B0Ne3b4TtrqWMTzfMi7Op4ViB6g35HoiKVsJoe3xC2DLpWenyuMqaKpixU+COoGPhRqYZ3pxMSMCL+aFH+rZZWOLaWuvR3fy7O7nL5OibyaJRzbbm1tW0OGH/cg+nWcAhFWMDfmxH951JFASkzj0soiYxbGdpJf7o2oOjOyJTNBnmAz26cCD0MM9rmCFMZk6qNjV814aKybizmk25ZQnHTA7514q8zE/25n9ooRkNLemlpcx6JhVnTgVbUfBChf23G5WB35fLgvcC74yy3Rv+qVItTAd08bgD7EJ8pOexREPO8aBidFcuoL5kdSZTsDqJSD2no+LJCW1E7AcB0CuILl+vODsRpRnEYdyFEh1TDsVTpmYJRX3Ma+b+rLnKxCJ64vOeYxx4Bqb/3Ypx6Rj1YSKMDnLELe/fTCTHJGx5AzvVx3QtgSpdY+8wVXvjpHwJZ4uwf3ZjnR56wZelmBfLDaEu4MXe659MrsDXUkloFsTiZnVdqC8kSzITyJHcYSYy9QeKCNn4EqBh1eqWC52vW3sCZdtVIlQwuOF1aU/g5Hav7pa0byTl30vIeLgUxxbWal59m0ArSz9ogPDCoKsGTBFST3XGS4bR+OFGnH4LQZtH5I7hIz3jtHDurr6E18+gboAX4hobRTSfDVMbGjbdRSFh+zRXuFnpkBSDUUR5qz2Jjvzy6VoZBnt+qCCS2T0BeI6a/zaByPgbdg0o9UazTSfsNvGDY2lIPysCN1knHCtpXitiI09C632oNv74DJ4E5w4xdBP+rHbNdCZg7YvdsjaEHqvWici6qlMwd8MOZJ3t+/scnHboV2Kel3RK0XXhWXV4GTI302A6qhA8jNSZN72h1Tx7Xk74t2B09Gtb9rPvF1sITlKLjRpxyFyPo8+6B0c1gTU8i/6flANaVz6Uql9ebSE/dQIVqW4kNQTEsLJProMPpMQ5IClQMtAHlLfXKAjTC0kFcUwfx3vMg8eZ8UVcCNb8UyQSl7PNOvXmn4SiS75U0yABX4ITnX97slzP1PAMj0WLJnVY/9JuzrlJQiE3wCM7PzCgs0/PHXh4vIbLv/xQJ8J78siNk72ldpb5WJ+qu8JLjZc6D/FyP/D4eGK0TzkILM+Krp1whxZBbn5TUk7H0JtFGxs6M3mTBM4Z3/D23iupU9nSEObTi+BhAfHHcRsxLEIRypu2N1Bm/AvQp4ThppQxckWO041qMSBZ2p5JD7xa5DiVtFpU9XvP2ubwvEhO1s3vNfp7usFmb3+25vzoc7s+kQQHkfZchhKcOm5IcRr/Im6x2xOc3/qaH3AssSYl8iI5i5+NVGX1X3JiOI2icaVj4TBX4wWSV44/a3HdvbakrqAqF1XCyVjjZraQhbHdEFcIiL8/JKJFVLgfOGgLPT5xhVr+6OYLvLDCtZuFR3D9a1hIorgUIgWkox3dKQ6QmejyO1psQ1nclPiAVFmZhC7lWoUOh27aZIK2GguGfbPCLO5xEvFTj8cFeMC18G0jHYZ0czJ9u7kOeksiu/f7gDjwelUENn6K5xP7rt/JgMHDbrbUcEuj82jJn7XZ5z7m7XbhD+78ADVRxljEwXQ5In8m6lnnN57CeZcs8l/mnRTEBH7AU7UQwDQgR/V+ALMbohSEcqUraE8Vc3ZGhHahXfZJfIekI5F4d4D9qvdpM1U7AMCrmazV2F29ikyqispaxD48c1YSeSR6EKk8hl3Nv8cLvXtoVo1xT+MrOVBbJypfxLgcQKQl2LCI+6zEIn7N38xwR/WnN+beYkjEOoiXtecaRWyHBN+ycy4QRc+27t4oW+QMC9oWNRJc3Te0McSrD2qpGLngaL+3hGIpBnkYBEUsQc6FTFe7nmDpJvthlwPUc+BJX5pNVlKq+zK5P0lnwXTUfc0sX6ZiqT+yvDxDEnf5/0lOH6LJqoftTpEuFZzGpJqBWBKSFjmOxRggWUvsgRO4iEvO99eLRn8MQpfNgnCDdYNcm2gFIuvsGCwyL0jM9JWiN1UrTeV3RsxtjyMctWNAEa88TPNPRukln2VLZRMEDoO6m2ievU0FgasQZKMxQmEIx8TghKhG+o3MCpsB+cnsFxQ/Ts9DmNwPE1z5j+pn5vK7IvukU85fmos5J7Ml5f054Er9dBhFOsFTZT6mMkS5WTQocfyABVq68RQ5gUdlOJpFTLQeWIXuNxcHrfFqnrG0JKovK0FSfSPRbRpH9UZPv73p53KyLjWn166caW60bJm2f8Qn2vUivPuvNeVzkMcEzDI5IA1K+u8wrKE7A7K8x14pZ8fKxEsphsql8TMxvdOTu6xoDGY0hvMEKXZYII1NRqKtOz8QVuCt91ePMt/mRuEh6rQcKM+wBK309eGtHoj2UJSrqoYuqhv63VXgqTPkAd0fVgiSZq7mWFI1vPNi4YaSz8dfaKpFX1eur7HrSBXlP+BI3M5lU6YdvGhHiednqNNjq5G8xB/DzzlUwC49g2hqOX994OX4LtcYQg2uGnoKSZbGDy1t8R55mV2d/a4Nf3eOdvr0i/xnwj1CDcQHhwUZP0ilKVzgvLDNVYg+zVEKn1DpW/vP6leWjiDag02V44jogzmdw3EltQI7JoAteFdgVdVz5dISErz91wgiTTYo6pofolttecQp9R9JEckOivLdxDs2HaXHSIk1/BHJbegQmFd9DzJDDBaxUrk3CCiWOAmJBkBVGMj7H32W0DFToXTQiC15EoJ/vtIm6NxVcrOYRtTyKjm8HC/4fNAf2ppN6RHlifI9El6dThdiRmF5CkF2wK7NW71SKf96UrP39Lprkh+C7qa1uBHvGE76YOioXfCdrfIbdemdjWde58bJKTXqY43DcB5iAdoyXH2Z5Jb6jn2bmSyrFFtQduU+zjmi/FhZp+eduP82MSO3Dw0YUTjtS8iW2zb45JV7/9/dOJdSMb9ocbL3w0tJFKu2dB5SY/rFQUwn1IKw6piws+V0KfmaKgkg29Ua0+8YANwgQ0MeK07PhXJ6RkR6owlGdcpyIoCsXTGYYHxnTBt29WzanQCLs9AQmDOowfy833S21D8Yv7Jl1aNCwB1FrM+tvkkBOnXOdg8RPOWhM88//yt9w+m04yTXALHfCGgnFPDrNC+Rf5AwTPnq1OpbugrE+GV0K1AheGOv8wckr7qPH4dKmZmeLOG9eEt+uIkf1JCypuwtsbxtPIXfeA2GxYXwlh/O+weS26z5mOCG4bABraCTaaW+HNL5HC/P3zrgBOIX5HgAiNF782AKz+1+vyhfZzGBAwCRO/z5bkrT+SOWEEuqAuIDMy9Tntl03CFdvynm/StiG5LPabtFBHbjMIPgvt5J/j61wR648BLtboQxiUV4vxNH/KRCa75MZMe+OBmrm+Wth6WIDV9S0727VLd04QPc+pc+ssq0axFSR6aIDbgQF5HTyfF2kIpnQgqyuulF5v3h9GhaYum0HursiRIIEOQBd2v+dTy1tvk63SxwEwm0+Zp34cGh6HFVNwoyUwieJgzLK7ryHaSxbNW/7CWpN4238W58K4uifaFbzZFD4J+sq6/NPXe9F62JtvwyJ1NqA0BBELmAJASJSYd9hzgOaIgQQWybZBw38+rjZ+s2Xge7AT1RJ1ear8DMX9hrVGJ32WR5/g/pIljgYGNFeucdaC0ojXBnGJfcbc6MKfidutXMuhuoS7iSFS+szmFNXGWLyhaSo1ycafyw3xtNJEQQsS6BGamfqAl0hjMjSVR3HxEFkjXUCMVTRMn+b9RnnpCPPa2YZeOzGYX+eBvVXn98GEfi3pTz91r8KNpmaDlfDaz4/MGF4pJm3vsK78kokH7uPIHsSOu94CjSRoSnDsOqMeGpvf3sRQWzSWbAvvOrYgI9vZsAsik+wWNeT8B9LYdFQTFHfOhY4+cyPPYsa0lvlbRyfAhjaDsN0fL/C7d3+wd3ohB6bNRH3PrY4F6XinkH7+ENgw751ZGHCmwdnUG0yBuFa3HS2ZJcJ5d9SGLCOqyWj0U7HkmOfSuWjPDErkw85/QAzo4M+AygU0EQ7YAWw73Cd79pED3ZfdNC2mzPeI0142tK1r24iH+IQg6GQVGoJ3RHBTt9/x+Ofl2Q4pF20j3r0b14V+UjtPdaGUEk96gwlHz+dFaNpe1SB8r/NuSS33YvFGB3w0Qptk6YdnuHKxGQdxywGb9eaXYV5KmcK8d+DdtijgdUCcY1z6YaEm2Ltjkp8kn/D8SS7L66d0cA6yEoLXwQnPg2C9ATDgMNAv1Sw/zYc0nc6BEIQpl+ZajGYhD1ma+fsNyCk5uEq6nqvfMUFMpDwUZM1LWkUhwSGsuo2J9OlDKqyn1sfZoUY/HGEDUSlTel23zsEc4coKR+lZzhMGIXaw5lpKvd89Vp3gYQReZ5lTTI59X6x3MunGgmmCBcKjlfRTF4co1JLYs0fdSRysWDh9BGErc71M4t68YBqN/XGoRPtM4CW6Y1Tr1Ki8VzqzLXwpxlkmxAFi5i/5AnDkfkZu7BjHndgtCT4LQweynrQ8p4gNFCDk+4mkqpQg52HOSLRzSFu9kEp4xtQqM8lCDf+7ekFbL6m0+Bm5Bim4lsrXzSB+/7/tamftEI3RTzmOKMIeXbQdZP9EAzU7xylVI0/166CywyuIXaEWb7idRB1axESG4j+5iNAtTbgYuIlrnbIJBPN9Rdw15guHBn2LOW7bwe36mC45/6Go+kNZc16iVSEzHbLMJPOMR6PEAytbCsST6RgWrUpCu5XUQCl2Hc2jflnzi/SiaLirV/I/kXhNpIpL0dPZ8nUClOI79EVSPFhXEdN5cKRq4UTY6jval/60d+aIkM6YK2YKyhUlGDURxKZsoiLohgd66E5iALCrhQygI95rKj2/LV480Zy/wfSGEvVSxr/YgcRJDOOrp64cVFHnr28HIogXXtoHyb1YdMXQ56eY3o4RTQDwrgMTOfRNxgrpb0wc2PyF/7GIdEKZOopfgjsc+18jnawDu76nWCTX243vip/w2VmUx2mPfTxBG6WhXpxVWzTgKEPiSVa0VivVqDvPmZKDR9DGy8UNm5A7aQ5CaO2V6QNw++Th8AIzoju70H/4vKa0kvOeo8AaPtddNdbDN6W5l6ZjDG6TpBKTn02MHG8qSSoX2kmUSv1kNuapTEcl5Cxvbu4RnaX3EGRACA+EcB2To3jpHCVT4q0aEgN+cokbyjpYjD7EpS6zzB9eQiuuX/BFQ6VDTCeplvMUP90/z1ValHO8ILlsRs2LnHO4qunK0VfAA+2WEemOIZeTuI58+bMLOXK2VwHOqwo8ZWvbGkbtxxd/Dr+xrb+AN1LOYjA7KLKJYlz/V8dclfOlGeClR2DfrvYre2MfPdirwhezaC31wTgWh30tezMurLg2V+BmCR/MmbfuKGqzR8ai5H+/s+46Oizs6i/i7vcphIQ05w99yy2sW8hlssjfY4+I2j5NFbcmvDYTdenDlQw2oCCmBDlq2vKS9SX5E9F3JeTZInRg/4FZudQmiNQDvDehEkVDhhG/4Q2n4osmw0wyF1ero1SX6o0FOWZSeQA1cMy8+NaPKAX3YO879v+Rpv9BKGVEeFMGuARkujjZ3OzQDfecUuOqom6USqiA0+VAAxNnnpmcfhf2naeJ1ZupkvikS5xgdkYtMuOvuVn3p+yH0GHDEW2ve74lDc9yLpSRcunzVnFhdDTPdQkqOgskkANv8YiKR47ESTatXu3z3AqI7SR8T5mOL2IGHc0D4g1uC9mbROF65Pr1on/Phw8N6SKXh+IzCoNZkr8sS+Y77CdY+Mckq2/C8tHlvx+N1hptp2MLEDPBC5KOo4h8fm1fd47iX97kFty3FCI1ykWl3B2ua2eQ5p8GiTYguYZSmteiq4mSvsUKgZzpBTLnTu7aup699ISPvd/5xfoFBgbusUcD38VuQXwRgbO3g4Jfr01+Vf+mDiL5gkwLSuOWqE0phvs+UfWLCWoXnKkaFqkN+i9Cst9lpqH41kK7KyHmK7K70g9UloIZ/3MKt1NzNgNYr/X8zwlyh5O5Rr6jXe8w7AAZKbBoDVG6042uFdafu8sTNiyurGtWnyFjzbvB841OvuC+8Z85ea7tnWokPJPoORe8Zr0Uoic5QyJ6cENNvzy9tAK3yI/hz9ENJdInd7HFVtkuRV0I9it8+IMXs5aGMSzYutMWsJZRGpy2jiXgvV/5v/e1nIgnzHCIURYLoqm6/LP8BCHWORo/zUC8Okb+XmnsqmeVlZBQGGJCS2f0/DuRj954vf4THeKfOQOHA3wDifrgyy3KWnl6R5+IOphvaBHnPwBAYlA0pWTHoMOpGC39MF1XWx147xaudSFKZJC/ciYhAv5+C3PNN1ZcL3fDtMGy41XkipPc4Gyj69uk6y57SakBkEwFgKu//YkwHVY6wI+i6Fq5x5YY2IIUk9Sb8RkA0aRh20bvNtVsU9GL0VlzPhdfZPxsVv2qJzoaMgpjGyPeNlxa3SkQUXouQyHxvr3ftRMScgmVfDZ/8RbWwf8ytifz7LQnYw0RG6yd61SRS55k7Jw4o6WyrBpq1y06fp6uXcVlT4Szr4wt8geOgYSXUDGX+PYjcQmHb5KFY5BZ0zJXnxh1WRh+xAdL42M7YtlWOmRIwwaEcgxJ1Cv+1mMsNE4rCmm1zZgHBgkDjxiWE4Pnru9xYoXPXMxOwsm98LXA1phgLdF3QDQq8TKh1sq8gSX49OjsWJqWeqeRy0GE0+FR/I8Wd/XiDUKf1//EjkBqZCEwLMHopH/Pa8gNGdCQsbFoJ7WlCFpAcHUM3twlirzDWE8uK86Qn9qHsBZN2KM7p92SM8VatzoJdm9nAnbQxZtgPEl7+Xmgq78UJSxjOW7uBR0SOF1o9zlzbxHig4vU/3shGWbeX3pB5u/G4A1jAtUzpx8Ylc1qX8mmlg5IutA+bYSxYwb6e6hL/nfOestVk476yylvI3kwKl7CXYKSCzDw8eunyU1rC5RAOIDPj+sllPpOS3sOCBd08DR+msvleW3gA3zyb0qfBxYq+CzncY1fHnHRWzGi0VvmM6fy8Az6FdPMO2VR4mRSmC/wJpE4zVTF15ED+m0+x/eSH1j8s2KTRMFhkuYNGqaqDxYn2MjB422snSoGld4Lox4QiuYtiMYrw80VnRkuYphyTjGEa9JbJ0/Zrxuu0c4UsrWYAQkUM/tABQbxI9kOALU6ULUhMt93+qVFw3ly9Wnml8Vgad2YQBr6kLuXneQcuUOlF2VLvy19yi2VbT9jpDf5NZLCzVmJlnVElXfhItHOA64TN8fvF2dQg91Bgk41Hsjah1lx0mZszc1ZNYCc+Wdf7qZGMDgLIPYatRA5/Lpg0Nqbw/wqr8auYzQ6kNGNjUhfGJwujpIIAESd/K3ccUskMPrE+mZ32l2g3MyIUiXhyqwhQqhKK8g3oRLW8W4TkRl+UxXzUpP+D0jW19vEivaFpiJHfzV9VXrtQ2Pq6JGp4NRoC2CC9Fi8mfdameQT7ZrKr0vxqKE+CvZTJ8xk+nP96Jkz/wcgomJJk+qW4V3ru7ImzrfmrdLfyP9aWxnCUVN7O8+OcfweHZa9RESsy+XvjmPIbydgEFIQqwKueRgPKqicvGLGplj721rgPMR1PciSawkT/hiTVokzrUYOxEFVIItAruvBn0W4fqYF481wakuAfLJ5l8S/TVhI6M20jP+zsuz+q7GRJBdKD9puHZLROxBbu+hYi8lTJYH+lUJ8AmpNTaEWKSYg/tvFD1UmUdqOjFpJz/5hNG3q78MZeZwijm677iZgDbJT/OUdYFo8TM+XLNa6BBWaZxjBQRWuQiuh+oJ+SAXoXHkYyu6bjdY5ffVh5nO4gT8R9iqDrsA4Xem0s6kT3Zum09JqGZnDBGjYMI5mbSZtHhDy4iFVC8iJ4b0jfzYVzXAuxABAIbIYcc7/HqvVAR4YHfr8auqXSPlfkYuMQvrsjp0Q5coMViw1rpAp7zE6eanyeKNCYI00PMzSzdLpXVEJf/Xw7TFrqVGjfLxPUPETKKgfdALrAzXqNJHZ1zW5V56WxSjO58EBejcXJpieLXUNg7aJWtPKaGmw0QPO3MyS1yMIiRa+Df+JxHLv/FUWQRA5f02xC/P2PaD5PK/fvm9bhsrHI+8ca6pvGohtwvSJwZum93Wd2jBnEXk639Nh1VGNmpt9gBkAZDkNwFVuGbX03gk3n9kj4PhCfz+NhTPevvlEC/UJREYqbU0Ly9uovMDhd4STTndxgo8M3ogQ1HNtCNgQ8hevGpHkJU/DEC+Vg0UmQ72czKqrmvpRe08H2j0K1kGZrjju5M9iHpAelnEdTy0ksNFYLcBD7fUZBVvLH8cqivaWbHwFDb0oPVOYWj54Enha8DQ73exIGH5iS2L+aOFIHm60+aRtU1kSryaleH98l5LPOMT5tsB+DpURjviqzJLKAopvK3vaLEUCga5wNkb06djCi+FQO61oi9UTmVn16F/E2OK7XrlnucBPwdrUauTOQJ7turSspjC45SHAmferBg2TuJhtrjLimB8fRDJkdVMNdzcgtasETYFLWuSZvJrJDa/hN15j63lI7BXxvsyZwEVUZLzPEs0D+8QTbzIPBLl0a1KaRuFZhVmeVDB+1KNSD7QxMOOrMsUbWrr8k/v19eIWw+p9F/eNY97lGfPV/KVzrCn+qX4MlwLr+Raap/YLlfPqgw5SUrEQLo+sArEviXM109M1/WZQ1G0rvyZV4RE/uy0hvDZ1HrOHleejSXcxAbWKmsn/K5h5w5dElJr0LYn5dnvEgrd5DioytgGjfP4h/o2AJse/VJ1kVPWt9FRFcai4N0kqDJThIS4AEnxhY17wx855Dvp3+Z7eDoU7Tmz+kDmJ8YMA7QKwfQkm3WsIPlrTJtpDhHttqTW/1vT3LHCTzvBAbIH9EIesGlZKhAANE0dTYgytrZWoGE92Sx69yoFy74Bg41YG9S6A78cQUSwsepVORGrPgxjbWrbRaKfy8/qp1MIhp/OwEiQNP6GdETPk43bTWqJ8VKQqT/aBukffE6frnKxcHc4kpaVJfBPYZSefPqvWFeaWtCL+ZUPVAq/pdoLqDtS7PplWOqFu22yaKWe0mrOw4R6igT05B8pWM4kqtzMmxtWP+ozETUY4olbKQhGZKAqa0+JQlqXexwPLpc0sZywQib/zzgdykxsDpwoJeC22lWPJgELV3KESbSpuKWoEPBn3C/AmGG5h8At7p2SL5CTfrZEZb4T46fZzqN9WMCLMEOszUbtjjCLqepW8fcwhLSZDshCWrdO/yn9F8O5TenJIztlC4fqz96SDqeHRmGugT6Ij+AsRKitOoVeRrtY4CtEBgJDZZv0FIjvWYZpIOpLbCqmZfgX7QYrCi7qsbaytl+o/NG7d/JB706soi69AFohJlgduU32ynQbhPm5xAkS+lycIiK4Ay0tkDfeTpF+L8kBWaFgUep2bdpgUJW36ihXzPUQSwJvZTdvrTi2pQLXfcbrPCmzKC6fO2KkcHN4LB1kacVeOnnX5lsKlkJqNZ76r045NMPqf0zDkIGTa/SyVgqZp38J49FrCBtGkXjQNqJteJyaPnisask/XQ81YjI09Y2VfJ2IqUSai5pbeEgt12JeVc+8aDx0LWEihAKS2O2SI22F2dEv/XmUJK38913BeWhHW7+jkEcgpWmOQyHFOXOpV/fIHzQV8EcK8WxQXGQyzfIFI9D7AKwXtYjZYeTfOIkfqYVzkCnsyo6zvUrtpYh+XGBdYmsF6JHqi9D4dd5GI6nXu49EIEd3JbDbxyWoi430gX1ubXhTjwuYagpktm37Tq5e1fNVB0gtxPZcA7XFqQoVROEz7DUjyJbE6Ktamv6UXCrWXLPFARnEjxZwIh4yrFmd8BuLopyPVVQHHd4xzmYe8taWWJ7pc6LrGPUMzUsVK93HvRJkCE0b48Pa0MkVADZicSJMxsOH2kPL3ve77wvJ0a8nkMToNTiifMklb4McAR7sslXLIX24v6qrpS1H6OMAk135BOFqgggNJy76/JyBq/OOwE71Wiq1hfX4zYrx/j8Ms89t7pzxVml4BFZp+izSYzRCo8f1DYjrS5JO05W1r2D7R1Wh4AQycyumT8RjyLKzFRzB8Je8rGG4798WqZNuzMFAetRm1PqmibS/8BfKyLPr4CunoTb0xUEprCAoUnjZQgv/nWfe35NZPKevIfYr2qHp9o5imy9mZfr8ICbFTwNFf9BTCOwqTbkDJVb4VIVwzWav92XkNk7CY3Nsbb8lshLel2MdFN70J/Xt5pWDuhSKO0px5JkvI/Gh45OojLuySR42o37s60WE2cZzx8e8EOHGrgfILbgdZGjPej/Q3iMWVmV+D1CjpuXKSPGUXzPAebeIWbmrWVN4PN9ZI1RpwEaHftIKf4AgUbuX708zGQlAVzCJfOslov+KUsqIs4RhLHXGcAHTnYDfYVZC7Aw9Vrh1oTipV0zaRPGzlYS9+U1DvLvxyMBVhG9aHrGkcrzl5X6wSGDzLeeQdilI122CjyOt0TjYv2ztq0plBlqLFenmkO47nYh2Tt2NCW/6qSdkbJr/DGUPzgW0gxWVS3SkA0y54wq1R+4ONpkkKUdyOUYsmH+XU5Y9AhiYLQPy8F7hDSicj55xiDcTPeFYfx6WFBi8q0uvdNFOWGtIh6bzle2gyBMtrcn3QX4EOnqU36dBXONMnZ1kzIWBoqQ2EYJOl258GrNtfMPJvoLIeBfxELbY9JOPln6fYuS92yoW+F3AYdU1gyaeC5H/OsJyk7GJBsqsAf29aYnWX6g0YNR23bQiUAp66j97kWCg22RKJpywcPpaYPzzEXjQn7riAROoKzssrubIIAWr3rfaKBLD/z14Xxdq9chvc5p92C4XdIcbTNu1GeIsTVO0YEWbrR5H0Cb1mMD2PBIhJhsE9YwXaQT1NlIBkou8vQS2IwLMjF0Mj5DQKYOlu9m31z7ofAyT1OtsgwIcEe94vhIEJNgIj+KCtpvUedcvKKOiFZeNAWrcodk5wy0xgv3G8sb14fJwDv8U82z5Lx9YswOZPmerOAcQ2pnOOHcj2lEEAjD3+sFCDOZ0gVqUHFvBULBzrMcaENr8IOPRSz9WKn3xAeqtkpSWIcVzBoxdQrnIylk7ZJAPfQ6n5bNsGI7rIXqwjkZWyuZAFkYi4Y/KeLXJD14gnQm18KzjSeUih1L2KGbhmIRmuPClAPHC6L8EUjF6Rwq4U1kCrXsM2Yk/aA7IeDWnUst6FK1zloQd4iwspTMa1oQIiTuKh/4YajEIGhV0IZ1Mjh1lXg6DRlb00wWG1fTzpiM9Tu97WaLuqhJwmlXVGDLxwBPA07N0jiEaT+wOK3lzZY603YpKMVwE6byaj5Z4QeGYVXqUV/gIivjKiZO7Mu4jfsrkHEDf1ZpOr1uRML68M2fSs4Goqll8InaVXqWaY9yV32J0oCCVcOZFo3tmiMeApWxjTqbZit/ADglQMgBm22CKeO6cD0KatAfiiSNw4o3QGhlGP1ql3YBtrQDQJ4YWu5PK/zEdXkicaPM06YpnZxA7P2xq5yk/2KYLgqLsuwkj5SRfYDYzmk6GxIb8mkPtlaM3/ExLH9TYWI8Y6oDkrqDHMYoTCM1IN63cncS83FV+YyMM8yqCCNXaKAI1ynhobasBF46DbBy9KCZxH7f1PUnevQBGMto1kMcAXMcvqN2/MwpOWNgzDDkFNQ2UumllxW9IIjILmLLe43cH9IxIJ1hYRSQaNEhqnDlZrhPrtKvhN7iz/l0bRp8F7Mnp2m/r7ZfAsXDAhRfeBKJWxnzT8/vfrNuMf4k3ZWdwX6JV2r+hR4bfjjZikjf5V7OfRlkyBXDpGY9YxMtph6tfRwwuSH9fExtTNta6yO2QM1DtTRx8sIcYgujFvjyg9ZoZ/BVTKwgSG4r96qpRB5xxWj/r+Dr/XLBm9a/AIFWmeMFJ4sil1Ygc2WDXbnvJBnIJhAhoxGp2nHWm+HUyQzbSrvkX0Jw79clUpzsHtCQ75nAppFw84hgAnri2KdMrTOFjfs00eTMPxxjMkG+GNosjC/pno6eVQdYbVLDeD1jJYPvf0HlXrkP1CcpHlj0nzUs7wS80XhX5lM1q4GUoZEciyS4Oa1GLE1eRrratpxKbXNabKPNiSNhbP+43e+gmYFKjWOu1Jf1iNk6BEMQGbHxTD6ZxCTnrwK67ubCK+NauwfcNHefXFIALNZWRAGc6YVE/WLB9OAPaaAWgoDn3Il6L0MQk+xiv+FSRBCP8p/cY7mS52qp0e2BvAEWzcUIXZ1D/H/b94NfiLRxbccDZUbHA3x68+7N4N9zmlgWgcgj+hKly5A554Ude+XqFdmZmDHBNpCDg2QCk3LOmgROKalhdTkfAfZOb9czaRzp2P2I7LLSw4MRYEt5ZvtRF4CAWBJO7/7Bzdq93T0TiKA+DLBw8yG7BJm2yMtyUzI0DMgqYL7FRAvjH9E+zkxYCRuwfOA4CoyJHb2MTAR0N0hy6SGIVM1/Fw7hyWud8lj8BBl40CQ9RbHbwifENCIHS7n+GN8YfY40AXCsO58pFFEz2sQJdOrsVy2geZPZg2OvQay2T/4g7qQSOtura0Am+CQ+Vw2DmqrjJs66KoeIobLO4+anvf/K/HXeynTR5QWynt+5mSRb6aXNUQoW68TJ036InrPq/6qZCpM2XvZQ/X6JfUTJCoke1achIKID7kMwtZ+0lBnTf1t1dRMf8RwZPH5Zn+leLZwe8Bbyz9Ey76d0BOacL608TBBmL3prwf1E5VKMwdM/so3dx8Sjvg6vGtafIkMeh2D/4tzmP/HaHHTrEU4VCAjCIMkJrGGmRc35ZixThrVOMDI4lZQgwE63jaDPuklVWwcIEjlMrbj8oSZeQ0+7Aa/nQxVwOyih9g8ftEleSYEi1U70GmVius9AbSfJyFmAjqQTe4g5JyH9IltIyoRxqxkV8zFpqKS472QZNhyVK/36Clw7hFgM2N1cigwFuvkVur7RrJWWc/OyLrbtlg33b/EOTQPOSIw3KYmdwaC/qRvwN5Oe8M1x12wHa311/WOmys9VDtYgi6bfHVprsYRUr+HWns2fCciOz/RqJ3sAXqhQbnF4qTuAeAVRzzQzjvUrun7gcgEN2M0+KKoyiECgXpCJ4Hc3ILjBclmUeB2o1xU+wYCS5XxTXzSdBRRMcLodNpLMFSpBZTHYa5YazHupkTyN0yLs4gq6BY+Qyn5DhqfCDTm841z8VhSZtZpewDAw/ljfc+qnWNup+7fBdyV9fv2qcOhovDw5A/jionDuXQ9txZ1y1kCIDOIbInnFpq3cosQ5eZqdTJBb8/5OHgklLYg1jMG+rXCBq1Rvoro7xtUUxsGe0gfGe6mGcoxHfOn6nUyO5bv9w+R2l0UtrcJpogO4tzN1GUJvBvffsZQllW+oy+XoSdCsKsKPj9/yNgoSa1Dxnjecyvm/IrTVxIT2lwy3aArmXrhHmWeEYYEXNP4sAh/y1moM3uIbVlVo55IC8zrfW74v3CavPG1306W/V/Zj6n0vHdd8NrmP7Ib2RF+vGP2Wuos4LNyIv4I0xGE0QqxIlsXRUTn5Bh++lfGD/f0Jp6eixgKHBBWUJdg09PlHt/66MU1N2n1WGgfxYhPIORGjaIF7EOp7jRdfvocuB47BnJ/VzWBXF4TOf+MrL5C9eVvqRktPwsX96EKT43wKTMyqda1EcNdqp/kknx9s5tenf4d0eoHHk8UubpLE6CCFzEluaR66Bz6NIlvaYkqdRdadEXh62YSQRPusiD6T9atDUl6TaSL1Z2MKXPVz7GnBmlHSbaoEq1a6M/xQmkJgxmBa5OntlGkWmqdqMLZf8+/KqmyD4v672FlXsWmPTOSdWwgigMV81WbPBG74faIVPnQy0ZIgr3Y/ZsSI8gblUQgKYgPPeJiCZm7OdLBbk1OchIhiAdwX4xQC5E6zVievjn3WXoszuy48o9pOrwI5dv/8u1nX0tDCXId5ADh3L8VTZCMYS2YCQB0tpP3+0IyLAeZc3pYU3o3yCLQ7gAC0aoOixOmOmRJHcjYRffogxIx46brJGPsCkoG1DdkoR3K1soGzYQGupmUDvOzU6pdzdMu2xQP06YMZSFbSthEKgv0Ysox+LeQDY0DQqa6Vi+Hlfge+/YgNPmc+iSqeH7mrN/Wt3exMkSEZjjuvfKVlnzdFO5ERcJFYqtacBNIxObE2Pf0a1qBaWnR/Ks04bVdcipP9oqdby4jWfizv+JR8LN31K/CUqkmkx6OyzM05VSbF8iMERHtyQQ+hZfrHVgQD+BJCMw+qJ9Vt3qRrjlnDapaoX28+fNx8YJC5sH26yiYjjyBqvSYKtJTwDzKs/FWBzgus6n/SU3ADCAXrlAF5dRp90NQNu0esNtAbcwmKvrHSyQSEk6Zb8gugBZJI5bN7TOwU4CQ3foXRNWpyXhxtY0CZvBLS3KmHudiTgyudy9mwvWS9iogV/3i6owVeIV1lnytDLOxnHL4LHXIvBqBykyHMB9aaqS1tcDnhonbHe2hf8x2chQZoYLYKhThGRmMx564P4A3WDsJi9FUtaLI1Y2HVxxZrK3RP4cylt+azV4qLh1++1Fi6NLvLReAbuDwrQSTgb0gskK04TiIfnYdCrKaxwPC9xmgCtRAiXy7SWUKN8FZIket0BWgZhriuL0h9gdtw+y2kW2PANhAWX211fymZLE5M6FmCi4ajD29oxxN67znYRswLCn82ujX4iKCv0vSjD6y7awROQupZ0h2lAL+to0JIdJsPToN2ZTZTbfLtiycQQyhi1kb4wjo1jNltW0TO275eTEWR/AIhZ84rhNpu6/gE+iEiy6BQYr0BfvJ4K9/ofXHyVZzjnFwIRaZRbJ0DSUmlNJdiqq3Gxf6Q5GKVA5osC9lUkiUVAaoCK+xY6Ve7WQA8CJNN+LSc+XeiwTyIE8Ib8BEWrUY8ZfUiOdmPNgpSVXksPCxkPgcfkztfxTRINAw1OX/4f8/F+MNlCwGD9iLpmvytxCe1kq7ziyutGBru/0iHrcB7zvfGWCFkUxiiiG21DSJtor2YU3sJMun9OpwdbxBRKLkYsKvLhzSd8qvDbghZD7d+2Xsaee1hskoqM7WLP6dXuLLmAo0to8OELAiVFeSI8u35v8pIJTuxNzPf06W/y7ZkdQEwW+vzXTDT6loT0cNQiGHVmO9C0Msd4gKsAVYh/gArlydi+PJg4546Hfux3X844eCLdTaNv6wxcAwHa1zmPA85PkcK98BjC80+3+a5RkUJZYh0df/l/6nQ3VH4K/L21M8PEnuENeFkv3e3zTS75PUM56ztOnfNbO+lbfobUblPfAauirVgiGnu+5cBOR38472uf7z1limZZcucbBg9KVFOMloKZmZQ5UA5K0KvLSBBTNhTmlyp2msRUg9VQubBfxsQ6FPcGAZgWontGBM+pkW8i7GbVNOGkwbZYvLUf20a/ziAjsE2pEZwQVKyNUWQJrrWDEHch2pcCjn2+3FfXFOzJGQhMkBiYU5b8AjSl1rcBOiymQ32hbl6RepbttAP7QXq9SoVOxsbOhK5WAmebiHD5qoIzYDk/PBSCMjMqIu50rSYUdelxO1CAjtClRQLdqwYyVGNlSfoMnUQ0eAxDbrJspcCOV+hhJQkMDDvfolmp+Iy/u0Qe1purEzT0EKXr6AmZbomcUX+4ZfiG/F+dvAehPzmJwDLQ0nzLVlZ510ZXiNCtWopM4TYADif//GI52V2WbY844GZ8IcoO+07BDZnaA0/hcgL+pvPTs78VyM1y/wtynuwa1wYM2cvOdduyhkTHlyIttn8/5KDCx03aC20oA+uY/LCGRXk4uZa3Sg/rIGjzLBvIVo6d7SUub64AC71m8gqfB04gtIrab3mhPMLSv0y5yyUbEwHNRx49eNuYka+mm7lha1iVb0AbY5Dbm9xbYGHYSKs1w47iFScQtsJ4ni8d5tAjJhLV/zgeg4yc8sJnz1W/Uh+cz8BcGHnC5SsDlVIq87bZlRKb5gI3eawJ6nd/hNHvfE3Xk0icFo+ozNHLUOv2JCB5eVyaY8LDyIK6nwEfULEQeNqvp4jCgTSqnvJgjbAGuIftpSseokuiwzS6odTPq8tqBj3Z4QmcYGFu3hRz8IkIRNpCj7RYce5yoTHpTFGxsDimOrX9jqok0cxe0tDTszvim6Bb2b1sriQU9gjJwOBGviX17KUMSPDFTBfO7ZkwxT/9kzILQP8z489oJ4WaM8ns1ZF76LwB1u13teMr9N1ECnxOLPpAMnlGu+LQe+Cl7DoUGlnMy0+/R8/vlK7jJpYu5FpkBxhZn7WHNOyfq+ZKiG48sHy1qfY4Q58sp0VWypxbvLgPFJIY+KlzeUn3aaxS8ZWWN6lWUrcSKNdQJUXFiT53eeL1l4yBGt3DXDdNzVpCz4lQh53qxsg+/2ihP/k0zgnJ/Yr5hbtS/oBVLCGcgCykpUExGYU8k85Zir7fYvghn2YKVA1pzQQELMS6fwRNqsusS57HgDbjGK1BgtumS84dzETuXW5tw/ufEfUp+DOPCdiH4ZFsgIP3/iBoIcaZr5YbV+f/lt3r7+uFmB+/adtp0f1YC+/IMBzBE27gr2G5r7pCvq1c+h3sfSHGjWrLzvWLxeaPDpEP3P/2hVtY4kETvK0kxHUFD9jFZz8ErlJSZzLKbS6p4L3Kq3/hBD3ZBGAtcV9tgsJAZbQKOgANDfmbhNeXzi7g10FvNN7PyYXB2y7/hwcs6POPKttpClsgrNx9kIgHlZfEfainjlInCWrJqIRBq6StXISItgpQH/32a3SYrmH188RDgXthQcV5K4noPwKPO91lP6lIgL0pLG+VqSmh1zsNnwRvzRRbK3u3RFF6D6QAviWikc++ekfcoYIU4CShXgG3DzCIKDitDxNsD6BiYlbXhn8gC7qZaS+i/RosbktMu3zXkG6RZLTwFwaX7QV95VLTT8vulmVpE7c5S6jtpPSjaHhYvWnega9/BrmbsrEPAijAaY6m4JG0a6+5S6Xwtjj4tt8JKWR0lVrD5psHltL0BRbZT4zmvJIC8tU9O4om7dd1M3TpKZGjpEXADVhQP+dW6UzO5nJcq9fVpuvBAHppoXyj7JYVydu66KqudAq91fhnhA0x/HebOB/nWtPmH8pNwF9zDk9AqtZi4BYDR81IKsRoQFTSN/4ozH/eKo3UWVRpVNLVspOegukEeuEDDRAaF5M369/EujTJYoMNZRXeUyrbjupLembM2kjo0cl9KF8Txloq6EfO1Qqk+iA992KWRRwWtPe2CzsKI0uZboLSmu0KaK7FZrOexqf6catIvchTlbqD9Ume2fKuwNjBVf+w9drQ9FMnXxl3rHaUBaUACRY0P7tYJfMHVpP61guYNEFQAScvCxvJyJ86k2jDLnqe0CCQxcRfkYdPDy3z+h5iPWvJiEEs95IVWgyeHaa0dUfx6xdkCcf07dR6M/Ct/auY722PAuOqbaNfkHeOad8HOmYcohYh3Veu8bZgZGxeyPtPsA73R4juR00TOQPp3cWrFCb/ushbcVCF8D/Yg5XtV6JjCg8UEX/wN2/3My+KrOefGh2FAVfBvQJC725hlKjQj88fEuH86xtNg0Ihmad0FhQ6KsthaBJRq3KSLg77vqGw98vc4uAe95CbbJ3F9pTxTRrk8bX2eTBBz2HI7V3xMA0aZAYL7o9vtIalzfIkItVgdR7uF7q7bWYD5/Xquvp9anfkPyux6YO/3YELe5mKHShUA3oKXUogwDCirT1nIbAQfkrjMkA0gQn8Dp9Ut4WoVJan7nDs5vR4a4dpuAox3ZhR6MpO+35WdWUk1JAToNGvrp6C6SK14wbaELMJ8PiyeWJ/82nughdjjv3sIfhLC/SZYCUYuEP0N5c0bDPN/hU9l9SOYQJ86VlgNlfGSLUUardSfT2lVm6/K5WZx6AdrOMLjegCTKaqZX48jfl5AIyv+bL1zKHonMdanlnwzi6sRwbACndzirV9i/L1iUMw+FTCjgzPPLOyVL8TDQpUaGt3GUvLXIpYqEdLo4PcByo3MNEq9G3clkOPK0AT/LlWXj700r8K9GoL1sWuJK+5STCZ/npIEgrfeuV1G2Gy0+0Mp8YhjTlQ4ZabwlhVENie7DxBa0EkQNOt+DWh3if4bhzutIBl3u3sy/dIEOiQFzkH3azPrfPR3ZYsxAFHDanj0WdfZFYIaBeFIq0kwSTaiFOhOiGvx93EVTAdoiQ38ZNZV3b6e69eI1vRmNVgQiYjWHVns6ur8nBuvVv0DNi4Ai7Y7Lr25LBTtdtOuEUcElWGeT/7SDN4ptF6gN91Hb2Q/v0fBNHjnVm1twpZw5NNfbpUvx+uaBxylKAvWdH+I5j6GCVzsCJDw1qz6Z3Sjh5vG/dJ2piDvAx26XtiA1pEPv9Us0+CXuBEBJD42JaxvnLgARzikDnVi2bHoSmLpqkx7UZZeFKD1pHgJI/JmU4fZDO6NbAAhwU2OBsuO5WYcPPfxuR9AWv9RJ2NMcQw+/rOuoD4B9fd84TYN4/Swxm9yYiuvQ21MaCJ163tb+L/JbvBQrowPkerC1w/BbAnN1KzSgTvczz06OnTW62Dn2vOtf12w/8mhiLv21S42u+Vqq8VXfLgYYsPSt7Hr4HAxn9OvhEwMkPj32Un+96S0IBu3tWi+dZf8K9v8ZuGp9XZLGzMWSxtN2L+tQDwnv7xh9YSeHy80DIrCTvSxwFlxEAEpgh6MA4RAFWYbFxblRdXN/gNH26EjOubnxs0U+DAAWq6vQQxCAI/yaYqA49r7j8kDlXd8L/sNx24fMoLC3quAx7+OOlrPTdsNMGND3cRtEroDgXh9VfjreVuy4fZpcU3v8kH26SAShCuVTXHWEtCJHhQOtoFmCudhsOygD+tIuyXqySADzGgHL+5vsqeRvczmv7qXxo5oN6bRTuEBnk+McKsu4k8vByTWgdQ+mKNYv0ebawacMZJ3UONgq9yq25Keh2XhqQeLTok/DEqp2n1GcM0NytoxoxLXtB8nJyzsHY8JcccH2kvtvkce2qDMmO0RiatjH2sL0Cc69J7jn+2KOL9SZk9tQJQ5RzPcIWvuo7QgtvtmabfFrk81ta/iHDbiIgYZvgiKFkCnFwdm0tdMpMrLiFqmMekqZGr6SwlyfGVUudOtdbVtxJVgSF17tnXB1l9ChPTMLzeY2sr74F7M9ZBBGo7SWXtqSe+7qxUPT3z8aJUEUQ1vHEpq2ri+gAm5J5eh7QdvW69uoWIS5nM6oXF008DBWcX/p94PxtbncOWhYqAgK9mH3eCYq/Ynrgy8t6Y/GoXjlBjALHhhZM3BxxywzSPPmTaL4skKuknvCRj9ZdQqCC4fkIhROsbPKDFvD7BZiBFwimX91ETH5DO89OCKT8PfV6mrhXr5z07fMQSuC++El/qLB1FisbszG69zKWB/wpFlPdoVsTkDI+ufiz5caekcUSVLsQwvQdVsgtKbWLappcQHusotX2i7W+KDTvzYhB968fyrS/QD0B1b104/3drcd2z/XmpuYAaP6ADO094UOmuNmnMPZWVLM5gES5MW1bxM4EKei3snrLARw7XzgQb9e6sv6jqKcuMmduNSB/T32rsaHud16oZw1KDj4pglg4LlIr4pdVyA6dumoq+KV6iQtimEBWJPqGEH1ET7kJS8evJ7rbwkRUwX3fblCWQllRSqMfMKEbQYReMEP8/mMfWkhrg07cbYw3Ynts5bf40L7QkNj728GiDiHOrWe9GOJy8DQ+okMnDHVzZ0M7P/i+LJ+jJlxeZldz8mqbacS0LILRSzkMw01q9sQDETHjweVJ+oL/q1t3DtNkxP0iIXtblIgqrtDIXOZ0Fg5IGhQ19qfc3Ivar1lZlgRQ7VygFJdyL3W177PcuC6AE36h+2n3zj2RoCtC2DQQXMAS6YBi4Lf7x2Oegr10kBIjxgj1Qd6owSkc1i7thyL6oVTZWHrtbwXtCVEjj4Os2d0EF0CjpcmXZX06xFnO53UVB3i1Ie2vuB9cKcZZD5UlbMkZVl497nY81SiMsEE6UYsyOwSYyGEafdC5aM/DQbY/C7uDeuxaC0PzW+kHglMS9Tomx7FUt8m5DuXj/iIdb/3bLbGDAvJlFcvRIuAUw6tY2kRrmQug6tBm9+aIAxXXOFirDTRGN9A60ZE3621+7qBhAQFrgXbF8z5aND2uIsJGdEW5iqGSaloxDveAZlJxgNeUTLSPKOgoGkCFCH3nNtf3QoZt4TPmiuukvCfUFormspBJHZSUUaWRI9947pgQ4fybp4BIczmsY/f93Ii2Fny8p1eX7YUeWlWaHVoU6zaL8SRmMn/anB4nM6xlGVmktA24BIPPIJvhEbkP8zSLBQ68V6qYh0i9GS5UrCdGsJJOFBlEoQ5DFeacBAmbOw0tfCaeMBxnxkaHHM7GdTx+JZBGM4fEY+AHW2F3gmk0SnIywe9NmW7mnZuLcysJfIv7ub0GmFrtlQEEnWKwbS4e2Iy4+e1qU+z2q8UvY5SaS7dL5DI9fQQ+YMkyklTDQPBA8Jf8VfUmoAy6CpIvOFxS3OGhN/pNqTvDa/CGvCep1Up8K0JOkZqvk3qTOOjVxUy4LKvtDDlwofab/aC6r+ZfzcgELWtQgS2omPU7uwdv36uzkg6pF6u6qYWBgDh2l6zyHr8JObYfL/snGENcirHsvQoUm+b+CAh662SGa0hbjkUktCmuOmutwnjjknwdDRXx44IKi91xySfuy2eDY5t2ywcBemdjZYzNiAeBT1V30fYAz9MmlxytBHQXzy2O23sCDj0gMZSRgmXe6gg6SryKQ/JkZpaLWI7+3w7YT3e5+LM+CDACrdC1uwTB2v10DEQIPbELAfG4vfc2YofhHaiEJTRdt72eBydh6cwYYr8kYA9otFHdwzNoaUHWn6/2AjlCde9O14NwdZDBSXC1YesAd5vE534i9/HMYplLWTrrldtP18oGZhZpApVs0yaKg+mfpsC1vGIxmfH6t/v31OLt0lvnf0Hoc44FTfo2L1nICUPk1Yx07dZ3DqoNP/suk6vxwGSmp0IpEUQpoLkyd7uHZ1IhkW36fns1/rzD2P9G0GSN98daAxU/gJGvYIxoDY97QRjRlgXWHVVFN8cLAHatnDxQ97gPRlxqbRxCzeGepQ6Nfj4VBTLiP9CHrKH+1u6aZU+hbc/MXjRE8Vr84WfjTPR699YBzpkAsqzRex1ZvSjaw5W9UGBfLfKQUTZfEvjpY5TuqoCj6Z+3Vc7CLO0qgK97dzUQqj8wXPJ3w41CISNm37H6UaFbC3jisLMkicuv5Xe/38a3J1NmJDFc4HWMu70v8dN8hl81BRnEGJs5okwqgMAg/mDR4StTvb8A/YEROLzL0DuBqzGyebKH+77Fk25DZ/YyWzrIsmLuEFgRln4FUrGKgqobZmIHdPo+dS+ylt8UuoVSVEOvSkFFtCVa6eQW9VI16B5ZpymLr0D89c1tJNOsKiiqpVOz6BHOajyVjLWQZVcgNp2AYUF+zUwjelj5g6pPfxEAh2BPO2rhJb/5vUlZt32YhMbrnMOngg1ikAv8ouWSv4BgJDJtlm1GlF3+4twE2KM8xgJp8KxToXgumIR3R4RgGMq4mEJvfgzYhzGsALx8/sfNAHXvleo6a/zyLMIuJP++GZM3773PCU6yl7xE6rSm5XhERQkUFt4yBgFQ34w1b+DUiZ67/9SK0OtyM0XEhoXF9XhQVQCEolEzJFYbEvknKOlC5qGpAaDOJH7t4NLCidPxG72IIy7+Y6l1Y+JYI/ZfxumiBWcMQAGsN/2h8HhArZWVQxVcjVVj7TjS4wtqLMUTLvOtQ3/wGj19B/Rt392V9RHJb1jmI3npk+eLaxOahWW1xTdSgtKEbLFORsWkjZA+TgFzVZxu4YzP4odAK4Ti8SJ68Li5Qjh8c/s+f4QvTC8B6BxCohegGYTvEoBSNQGNuabk+O7GBoy8t7+2GU73Syyjx98fLa0t/xdGevXs9SLsZpsJPWPdbgsgNoEYjaQLVRWNLIpCrHRPt0zMq5+7MuKhSKKmyE4aowEhEzT4c5fx+x467ufIKn6p0aKY5F3/jYErnYwF220e6lJvasRhU5fy9tN8OgiPnu39QXufOLlOJBzsgwYVRsyovszxufjAoSGzdDBWjfNUT8lophTXoNW8+x4i8/hg28JJIhD8s1SNEBzJw/JOJw0NzxrzxkUQQcn2+6cmnd1uATBMxClkRcaw9q0IYJB+OGWwDj1CSZSDaGWQ/BU9+xSFhC8GDl4TPEvC3cArdeDPxpv0+JTrDZclv6rMR9pl7ONOAYRGvlevyzibyWX3vaeaqVQ+Pzx/+B0wbXyaUyRq7FNcqxt9clBYrr05vFfJoO8wP7kI2QcaUCysBRxApQ4sPVHPEluDMG+dTUqL5JNV3FXyEpIt4B1GYSN0C0BRFZ9HYhS0bXoCuYE96XMO1UnubrclyWALoljls56vDlikur23/Hz3SqUzB8JSkjHcSW8MErsyvJqkhlVLJtfr9Vs2Mvzmke4Te2TVC0x6ymTiUBU681+flq8uRxs5WoiSq5n6GsrTpRst5x8UM0sztuWZWnLzZFcQEuSDrS3QQoO+cMIlJW3MFYwpgzL2GPWnL0u1+Qono9zNAg+FDB1UnknDMswe/rjL6HLVrrFWnSK2YwoXGwzVYpAr10KaaNotEr80hcMacL42SNWC6s0bVF5wyskmazzJZuUS2r3FVoiSAktMfyshUmnDEYmjs44QBwPOJ9Rlmv8nb8yd1gjhm1148Bo8hxkcYvzcK+NX4jyJnWmda9Yhpcbk9YE/xq8iOEhs9Ugzoa6D74z2IJeVvUuWQJb4KfbYaHgeLuoGtZxFGQYZGJC/wmOMmg7NoqgGceFKqcE3+eGfQ55boveyhlB+edTyRdLBvf76xutYHHmD84k23BSsmcTFwGIvQb7dwlSDtwK++yr5jB6Zk+rCl8YmDdbPAzuADZhhzkkfrjtyv52FQHNWXP09KegxD/SueeewoIp3XqBravzc0pHXUyRkGq1pRE9hZdVcFYfINvRwNHyBOtVk1Av4Z9WFDj4nKGnDFimRqEvqnhb0W0i1BTUTQ6IvA7VJmcnyW8ljSiTVWAmL9pSj9K1cvzaZWH1PpqIanPl+F8ot5/dQd5BNdNQbkvEAy4dJvG334RY24fkVX7553nn3EXoqP8MtBcU4TnDahji2DEAZVgCBz8Y6fEjgzO8P2spuw9Xt9PHKKknAeprdErq2YchWDRcRzPvLel69PLGO2wXRpNuLgpHtiYUolsOsSKSGo+IizDgZxf7cWmG0sOLmfLTPmltU+GGGIGoqYA63A4aTD4TZoeqaT5/Io/XCkg5th/BoiArQPWZXIEF4bJyoOGPggbAogRm4aIszNGSzQyXLeQ5TZmBqN4OWjhKBSAIVaZ3VCPWS0QqEC8UbICyvOzkdLeAE8fkMk3hCWR+y34s1u5yZtAO/LffdXHLro/wGrtDd/rugyk08GBM9ufx0AkXhXMUF5mNG2jLidTCr++NIhx6x2lH7KXUTAoCjERr8OAZwbUgAHYS1tZX1Jn0806HaUbclgqb2VAUvHjF0wNfA4eFW8URgg4L+1FXJl6KJpVfqVPSpmBy37RQZ3O+orSrVqokkXPpssRwUjRkzgf3uYLbWnG0ZofuS5gk4KGmf5Kx+VhvUhbfis5tlBLvUR8/u8VD+B9SdlPNBZMl0jZ74XUM87iPxGlVSfVgh+QRyG9kIDPUlh5tHP4YPYwn467tyjq8W6cRqvPWYcW7FfnomiI7HDHqdrKfWJJseDN5DueuNC+XVN4KUAEJrydXoc6B3rTQ1VTXdoNGIv2k3DYljIW/4T6pAzuOAxrUiWsBoQ/2s+dYnU55Ni6cITGCLKUZxPMqaNE92MM4smY+BmrpmXWHZAFLXiUarX5IvlbkosUSHEqvnZLfowvaXKZr8xEfP+pdU4riaU4kZXpBRKF/x7U7p7R96tuoJOZexa2QHBsgvprJLkCqKhabDCwyYPjckLu72tV0iQZo2bibcO43eVM4ky3qWG0mYBJcOz3qnffj2s0FZ6uVKK2XJjlad5RhdiyjC0xX5w+Hx/RKp1Bs7ER7NGUGkIQqRPkGGj8Ope6f5gt6RdqOr0kWwIebTXhDY2HhBPf4tTHg/sbkVlywVAqDV/yoFdw6B/B6pRHZZS2igpLOefeRq9giPqUK3b+i1NJrcZhbk0Uov4ozWEeOTSale6QNNt2Pu6aBFU+soacLcUjKqKM/R/wWcoPyi3ieISTTFmUO0Pqn6DoD7VxayLWE2pvWcPlal0wCJFsd6tQdUSAZm/5B+Bddky/j/jd4w1X0HUrhpwxWmgvKQzNro5e0qWoWQ5tM6LFdKDg7kTC+5hLesWen5AyeySj54Z1wD4EVpoa1sz890dchkYcQCmB2lCRY21mgdyFJniBmcb1akGFhIMsXAly0Xxau5wJe7oG/eRXMYzjBj6jupFAnv7Ih4pDMFzQvw87bMWAee4dp2LoDFKvW2vpstoGYUgap9ZcF3o9S8SQ0qa8EgJV20/Xauz75ex8cblIFAujxvjyM120+JkQwumGWWuCEoq6JVAa4H0s47k6jSrdSVFxH+ic73R9YEfKXbSoyEg5bBw/fYTQqG/9K+2ztLD7FPN7uBDRGEznuPaPjivytxBeaXjsbcFeYap1r8RgaLLBPGg7Ok1UR5WxqAdQma1qHzLHVIE8hp/k/p5aU5khwctAY0u6s9TtqSkgHK7R01wDRKM5o/N8LLlBDtoS12gRPru8r0pazR5fC3o+BbWqGDzAxUNNAhhGlA9JUpgt7RwPQYa61GtgzRwSDZM0dOeAABk4OcO4egsOf/a+sguJKPzEteG0eZvm0odP/wPCmXc9/s8FLlfHYSe9aO7k5HqauG8FoCQx0uxU9OYZj7X2fjGnHqjOZqT0fcCLBDGFtvqjlUxCheLwxquYMIajX/4jXuAxOlH9rLYLHv8juRkyU6vupDNkJQI8g2JtBAy/0yPsQaEw7eohtSa8MEr63AE/IZEK9Tf2VjUo2omtzVYq4UzPfUDLZJ9A9OTAIuNUtyiliTH6ahotAUA/HjXRVsBpo44TFP1Sqg4MYysdRAK/BglQ3q8bX3SlTcrA8XKaYZW9MO7B9WGAm6ZSvpYlrlk3k1SKw9sgG7dSDQh5ZxHAEL1v1ZBKS1pvinphHBgVVu+oBGUGc1SiD8qJCUCnKPh2YVt8KOea2Ut4DoV7ok5Pza4F/MKyp1X6kn1MOmMS1t8j0cb5/Zq2UDqHBPh1VxgR69mMa+krPq2MgrYbICp7O2AdsXgxkvVZRx/cOI2637eBQXJrUUERUWh560iS0KsFkoDnx+MZ0wnlFmjayXwK8vWoG8ojJTMDLgb8J9mvuE+Xojg5zmpapqkcev2JGjC21jUUK5OX92CF6+yqNQDerOie0iJcPAWf2a1sgPXGUuWIs5lGhBpqKEadXtsN5Ca5fTqwIakeVT915E/q3emqCzp3TgNeM6Po1hDOtURx/CyDIjJeW1vwbHa5ioR16eVptI+27N8EhwTJIpH5nTTCV56csLoS3kdvj5DmelRSo+JNw16VfZQJDlPLrnFROembymmCFp9D0Gd4WMkg4UL1uE5PFunXs0iNno+IM5xpPb8FwH00QTWeWMoLSAgptKnLzV4fcoy/TE3g8FPdIaM3ZLW0HE/lcURO/JuXRUlu815uD05RHcv3H8KbBQ2LNfHOItSyVRUkAtyrDS+z8Ux/zQ0Vb0jncvnUTbXVFbz05DpUe7di/H7dGi0GrB0iX/0NKJGdEpX5ZKyFVZ8p5WEyjQRzMp5eX+vue6oNQk1gpqt/LsssKDtAzaHnC2oDAuctDgVmNv4TlYtUkptlA6BlefsbXINaOEklFapzhx3HoxnglYo9MMY9Aot9zNW2jsA2ly+fFdqhIOXZYiwK341ujGLDYB540SaOxbRQB3Z8wc46m34mWgHCsNDq9GBWyNYMTNyt0tCA8hpTnLoYccHAthAd8wWfY53K/8FXK1t6PYQy9N4i/B2PKPc3K1WZxdYDgEDb2v/+MkN5YFuspmaivJiV7eeGqKX34808jCN8F/pl9Kpj1bYw5IbpbsJz4joMpA8W3mQV983+cw+4X2+V2jBqXEl1JXxxGuSW9HX0iepUL3Trw32GeJrQlpXYCKXBH4/sTiVNEF3CU+gdzTSHcpN1rtu9AAvvqxXtSHFThESZ8Gvac6bdPlmVJ4Yk59Nc3ycpg/Got85Xqdh+l6EbA6al2zoxphaIKSgFbZ9/cL2cXpLXKeL7Bw5+K6iTQTjjdJdqDJyOGZdOMj411LmcWp0IYuxhCLroMiVURHfqoK6IHHDBcmTxLB5E2R6A6w4lQ+bQImx8Pz+aTUriOHMgzRv3wnt7UlBwHX9mWuEg979h2atwgOgUH0Vmoxcsadc+mo6GEZO5arENacS1OZsmq6jwaWZDVYxdeRVx0dP7p3TZEYtv/1uGATvLU2qGYFC8OojobCD7pC3nrnba67h2ZdAnCKRRgjwu0M2gi2oUMFO9F8x3gD4OkmN27r6y59uhBLafDCFGqquo1cxtKRSb01zhzo+vV0BLf2r8PdV/tiy/3asPpgDQ2EZMfHWq//wd0IiuDwuFdvzyX8+OEXP5dpswHxK0/kbFYHgcr6UuqcO5x9WGbWULLjl1CyNL+OF67bLq8EuhDc7OgSCqqxf4nHET4+NHgIFNr8ltflEEJG2Y2bFdkZNI6VX90+0rrXPtczC3QXpCfdOnCuvQA492N0sLKr8gnmRy4h0kf/3Jd3iqjVssHdajWlkZu18yVxh9bdIwyw2Df+7IOgmqgzVZafUQwzX3yWjKZ57J3mw+uSsMT6tQ6MRaX3oE15iv5+v7YhxDpMNvVkA5aVOwhkmnvyi2tz4wQgCopedvB4v905Yq3gUBThZcva9zQ+/XGGECj3AovCJt7/XptMOyLtruKKizGR/PrY+ezZ0QRkMdZSjK3TI7wICYQ6GpFv6hcopNO7wRKOnCO/FPSRvtJXwpWL49VWRtH1jjhpKzGbXDMtX0eSAqMFo7NFdwMErC3ikC/PYd+uCQOxpVbrgc8PjczU4NkdGrrFzToo2kUDDXjoLO3KK7Wbh4shsoCxAVAMLJ7Yf7y4YAH6WAQtRdteusnAhwOPao6Bf9Hf8JrCGDmsijR+BuFlE3oZKJb6mlBp/REWUrRECDLPBE4zr7z5V0krao5lFlrjRZS9TUVj/vXicaleFvXfmSn5jp9Cy5zCcrGLVOXNr99yxSgKnMMyH2FHN3JVeJTEyqD6U6qqiQ9n6T35lXOqxkbk0P+ggR1QhPHIZni4ka1O9yTPWxg3Oc2xDMq7a89XaJGo5P/1HQKNbbhBUO6MpcsyodHGMgNFWXtVTw3zbvUANV99qfFEvdzvgIflzyRIw8JggQAHJoy2yjARt+wcJZfp+1oxjj1zgNKRyrkDocxjsx6sOsqkg0QqZ2Ymzs2OWawwQPtXgI5jDvtlde2Vv3N//wEYym7tiF8mIye9Ac4w80muB0XX53HU94loGS3hMFbCJIoNFUdU/sO7h/e2avUFPgLk5K76hNfSSJv+nvb1ReCQgiuRJnCX8bCz35Im7IuzUOFeGf6gVuEAZ5aKEDqcZ86YpCH/KHeGxawGQdIKdBrSKZ+4fJXnxvKVO74+DmD9ZT+z5HdQV5dFBbfsumuKHOriFh923wzloUGJuIC2lNpFG9UwqXWkZVJYtF2jOKHPRBLd7wvrQAj3cnxvipj7DV9AZmN0EHhrPffVvNiR0wnsg8SPndBnXDXrTlWgy3wRz/c+Il7sIJtM/ksegOE+CL5Sr2JTjZn+M53xLpoGXcS+r5WBaNW5WgNf8LrfxkpNsmTIybo80QVoxj1BP0W4KzYif1xyTUwM6+zdi4q7XUEz6wyFWC2dkYS3yIuOJnc62da6vnvlyqK0YSfDjcBBJqcla4zA9ffkgYRemzE2Q/CLHcpxHPoYkt5MLibYHyJXJH+C8uLfZuDOFzflvaW1ExKC9kaHh6dN5ScmHTt/y2jZ8ibIVyvCuU8hAe58dmNwDpah/1fD1rVW9QKzv0eSlgILml8LgNjXIxLhSifAVjAhsmVnC7Z9oiUTCpJ+cQ9bbBWKzPFD1tStd++8ybuT5BH9k4VkiBKvCi7UgYRsC7+ydsloNJJ16mcJJIYQSLqALngKmb1gGQvJ07i3kLowPDbBzcfDdUNpjaM3RMkYyd81WmgpjG0wEPAIXK+lmaCbvmnhlzmWt79B0nIrBLgcveppVZ/vzf1dj+CxJsSfKSG03tiOooLKQOqVbP+kJ9DT7YNgw19ch2LGEac4crpwtBcSLsHIt5f06cgpvgfaGwEnuyi7ivK2Ms+4FS5LQsgaa5p6Ezn4/Vlazu5aeVEbPj2MYHXrT4QZTOSNWTAS5vqL264pMoepCpgQ1Nl01NvuckEzrhmcHoLKQku7MdR4e23Npa4KF0BxOMv7LvbbXEd/ry6xymy4rzfetuyST1jyr7zmFNgVD3hO7lUAAjIklQmD1tM2K4TOuL02jAkIybaI2Jrz9oDNq4YwWEI8Ru7TjpNUCFKv9icca1fpi6f+1dFdl2Qbbg1ecbF4qilu1bKg5CasZ1xvPys378voe/w2P+TpUwjzmbhmZYp8cGt1Ckt+c/c3DVpba5ZqY+kb2qIwru0yAqIo+SzL9w4we9PWsZ3fZD0wF1xoev7AKpadQrajwEXvmTVNQTRLoeH1vefTbdtxipC/eyTwJ1MuOOpVuRxp2VS+YqJ6BKmwAo9lE9RC+J1luuEwIVRTLjUMc3u8JF6oazgVoXgvyU8OfbgFMnBaaE2Q4vmpVVQm7pS/B5uHK3sMe/tr9K4PODTT+caHlE2SMim5TKMbCM6fUArDJ324L9TBrob8fOlP2RjvbeTJ0sJERax535IO6qX+8futBXvoN6kUf4SzZiYQ0Pw4OqVDrpx29q9hAsO03ibhAwQeNgGoytCz29sTAQN20ci8yTrboAJZh8LUP0the0Iaj/D0RVcbxqENs+pmxdaHOD0Qv3s5Lp/XQ6EQwwFosIvSYKspAu5HMzZjYvR8riOs3cODEQvxSWPwlPEGkMzuj/wGqMl+IoYsw/N9L9gBUKmzzUcgUsChx3BZWFUYnvwxTiDxFgwU3K1m4Sz3fLbzrqizMe/R2oqNzfDHhI39+nx0ViTngKbQtxvUb+l3X3IsE2R6S/YjCAQdMkchtVQE00Pn94e4MVoSxw9/P64meCw7OGA1t4ByPXILInxc0yg5H64HkXNptviuoPuIISUghs2jnRonQHN8QG8wZpGJFuQEsNKPO+DFgksJkmaxCHoynLamxiVtlIYs4OcXO9j8oTltUwYwcxXQwXfqZfoOVY9KKBqF7uxkq/sBCn1lsTzm8W+9z64qSsyfGCOqBzW/IhDijMldEaNszIoJ8u+4nEBjgAuJflSgfmi5x02GYnaiWHM6a0fsEVKJJ4SbZjX+6gc1abiBx7SjTHmLs6FmgnHY+ghVbLYyPxQDxdA8ZadkFHjCKozNbgf7UAUNa19SkYa5BPvnSjQYGcC0mGlqIIqOqaKUE3dgt443Ev4t3r3TF9UVPX2D1+7z56rbrwcFLTOhSxOXzoXgSe6FgOzkYVGyW3Z06v1wrFunGzwT4xSmVVXiyO6k5MAW0C6oHDuw0ZBqbNYsDeaaHF1ftlBlSQLHMkUf5cMUxN7ncuGKQsA+GWR2woaVzYs5I/STLy5L1a0ZI9zvuS2sZb61mI1rBB2WFQcaf2lAFPhAtYOs7NTkwdxr8XgVduCUNvqsqw56lsf1AJiI9E7hZ12Fi3N/FTBDgyDZhVb1eXlM0Rrf01aHy2JOWZvTCECxHnZZqY+IV0lUY0gwStscd8g4W4lQIoEJSygm59tcWshW/sQb4K5mmJqrRqeKOv86+nYqGO7PIPnk8jpFh9+BZy7bWxNvyYF1Pzsc7XsuevSlmgiASrrlOhpz/jj2c7kLEVpg/+G3amcwHNjcvi+Xmq+DfpVs3SGiMc3uM8YG9ln/r0dw5Wmwe2zw4Q4mK1/YQNK5V+rcdymxIYptMRQHaNWV65P4M0SSJqUyf9DXTq9kZmdynJWH6YtOEOTMt+xcubkufD4MOCplspCLku2ua5AZ1BjmQE/wYqzo2XtJfucjSf0Xs+99fp7UCUHcigFkRjLzcbJTZlllgBbIIn6i1f93Axs3EvAA33Y7OHUZa/zlQut7XPIxwuFrPgNvh7kXxzX4RDxVyyle9lbPzDZxYLqMgXgfHdHC5/lxaUnxNFAF9oZ7iwuz6wolaTUhPeMJAzjh1oLIq//UjmlFiJXgoS3vGAG39/TB98Ly4r57Wpqh/DpJboSPlFqeDc8Doho/e173CmUeUVVw2/8D5+5BJ6Qzf9BvGoBcJvluBjU9We47uc7yFbDKpkUpQi4LtXZG+sVvImj9r2E0www24bpYboYNH9bWPTdKbecP0XBdydcGnGiTYnjKmgn3Z12rFM4Apccs9yVEBOj5N1to1Bh3C5/ctgJDS1GpdVxp4ffFdaGYpm1MpYo9X3lJAswYh5MTBFg+puU7LGZ6saqUo9e8hWQ9j1RNzwwy070CG7OtxcX2M1Mfz2y10t+iEa+kGOLnDPV3DOhLAavVCH6KLCJGpnEJ7NQVe03FDoTgsb6FPHn0Btr56/Mr4ws+rerPEhYC5d6keN+RmZvfmwPJym5fyO/jWgLS1q86cMMqSXmeGmiUMyllJIqw90t9fE4+u3x28Xdm5tNahwRGBLTC8qi8Jr6UM7NmlfiYBaOyx5l2QIuPlGTYhWSHYTkJFSZO856tS7AKmZCwU0wqT4aGYrTanvRKZBJba8/gWODKUBQRn+D0ZRDMByDZmjfZ6C/V4UJxRK/eI7vrpik2mbBo7ntrnkwUvuA9XAJiXQiwg94nYen7nhXYYWzptyduDyemN+lifEQLYyO+dHKK8gdEMC8iIeWBzb7jLSdmaBKtt2qWQ2Fr8Vkj4B55VbV8a43BbHJ+Eps2cPDppF0Ge324NQmR8ih+VtFEOQfVHfYSO+u7hgWgBuWGgbDXbjk5fMucQJMsM7xHf1ignO5UfO80ILPjGVuJ+UEF2OQ70xRx7jmhJgsJQIdSJc/S7xgRYG89U0BexwwyFMOTxTrnGKVj5Gcs8qZOzJW3RV1btdj6sYSWV2Ns/njF7VDeXqb2bzG76pbMOfvOUuylc+DvMm32J/7A1+ztOGIjlspbHLMU4F+TR2In6YGQc3muKNJNxEDG2Oiw2HQfkY3z8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52400" y="838199"/>
            <a:ext cx="8610601" cy="5262513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448531" y="6477000"/>
            <a:ext cx="8314470" cy="233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">
              <a:lnSpc>
                <a:spcPct val="150000"/>
              </a:lnSpc>
              <a:spcBef>
                <a:spcPts val="1200"/>
              </a:spcBef>
              <a:spcAft>
                <a:spcPts val="600"/>
              </a:spcAft>
            </a:pPr>
            <a:r>
              <a:rPr lang="en-US" sz="700" dirty="0">
                <a:latin typeface="Arial" panose="020B0604020202020204" pitchFamily="34" charset="0"/>
                <a:cs typeface="Arial" panose="020B0604020202020204" pitchFamily="34" charset="0"/>
              </a:rPr>
              <a:t>Note: Includes all dedicated providers (NEXT, GLSS, and VTS) for all years</a:t>
            </a:r>
          </a:p>
        </p:txBody>
      </p:sp>
    </p:spTree>
    <p:extLst>
      <p:ext uri="{BB962C8B-B14F-4D97-AF65-F5344CB8AC3E}">
        <p14:creationId xmlns:p14="http://schemas.microsoft.com/office/powerpoint/2010/main" val="14172409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  <p:tag name="BACKGROUNDINTENSITY" val="LIGHT"/>
  <p:tag name="BACKGROUNDCOLOR" val="167772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iuUJilMWH2ZFAnDv2Lj3IjNvsNXKCFDNPc7UODOpfNj7ixF333iKbWtOZTwJAUNVPmdJ1BTRqrpf8BzYwqyKtcz9VcUpTqhmtlijSowyEWQQIBtzUIUhfY7y5UBhYAZ5lLTwpjtH8zs1Aab7uR6Ys9qoiOwMlp31rw3Qg7tJpFplfYf3QEl2jEi8mpFOirk66XJ5whXyhP6TFXkhTS2XBNf1SQq6R72kb37z4Umsq7PKIhvmIQMIZdDC/LDstIcwvhrJYVcX6XGM+ZlzpYUQfmxzrlUPHiGXubCmt2R0jkmnmfhXebc6lYVT3agopCrvqICDu9Cv8Tm58XZ1frxq+N3CatNUi02siVLrtp2CpGLu/2Q3q9m3rMDtQkDcI7zEtU+p8sJVIgRJt+N/LD19cF6NFtcSK2smAYB+RHuWRsBLHc0eMtX5XZbEtecBqlNY0pyqX95b3B5vrZJqpB/8W/0vTkhXS7nr3kn+9vb8BqOneJJCgMLx3ul2sOfCe6lamzwuLT47ElZ05OsodK2IHp/KUmlz0mCS2/1GfhEVOgVHEsNEuUcxjfczjbCN7kQeeAqfMf3C0UxZhad2/XdXelBGIO9qEUUGA5g1yXQh5+lFsL2WJWJaV0UIXSZejQ+iHxsRNGmDpu8uxo1ORLqWnjFDe35g6bn4xgIOvGKEG+f5haV/9CDn9Pzx95T4iyDdNRJdD8/xI4vxTzBwCO3KtWpxi79Cv4d4Dg7heZ5V3GH0QWNESBqR8EQcBTxal3ck/xRmuaaMMx8FlkXDDOyDCRpWJSYAqaN/Yv1SFqGEXZ8VxDtHywNSe4wU3SJSIw/E9NkvCoVu6tgfnc+Du7kVE7XuD28W0H4QpWNzxYtTy9PrdOxU7UCSgruDKsbygaocSGwOdy1PKcS0RbdIvnW+eTusKzoyIj2OWIeZusu6bsuIQHxixQ3wU1TTWT5lAn9YHhGMCvIoz/UyE1C1hHcFrlo029xoNPI5afGwI2RswAE1N8lopgkY+Kivn4dVthdFE3XVLfOu7HuVZGGWza37cw+y8+2Tmc6KsltzQrg9X0H8jpmx5hRZqRqtsILTQAMgCXuYx+A5qqoRSth1j1yhwE1GYr7aLNzG7vy/1G9rKOiAcj2QeZ58bCs0+6gHF20Yri24MtLYZb2uND4CsXWDprg07JnW4LQKRguAIsbC93tMEAF+Ph8YYrDGyRW2qtIwv+DNpdPTUo3SxGxVgQEm1UAb3BrpxTKop2wwFOXkK+I6uniacy9PFCLwSHnWSDUubQDMweuQ3zjPDb9rq1vSZEGNdXYSLdiLPG6gTBAgjwQ3xMG+ENM5WwW0916ftMPee23H/16Y/6SB/fmSl8/+WatlB9k8ePIjHe8yYy9XBAVxD7hIqvdOCQkbWrsQxREMHLpioL5zqc1fWZKoT3iBtgystMeZ2X8orj8zSOdg+/OEJWV6dSDaUuiLXou/v2WsG9jcyvF/qg3mAx2ZjjpuJ48wLWrL7dZbNS4C3+vXWmDlNjIWFb8LaVr/DkCj8gEwtsWNxHuHCGu+W4BaO0J5K+orlSvURJFx+KEyIaSuagmJ/1KC4ozijI5+fqAkcvFjCbRi8SmofgPw0+vDDdyaNdDtzFq7sQw09uuzD7Vj45kwnvzQdlWY1sSrox4m/R4hVW6LEdXG/e6wuk1TaDbOm0pTi8zsy/A9EcdET+pp9eSyWQp8PGqxVCPbWOGSEPgTEU/Ykiiv3DpEJFsVtOOGA5kH6qY/oRFj4jj2IiMGjkY9zwgol4ILcEIxZBQsaGdTwcW3mIy/jRecp2XEYNlpr6f7jPYwyx8QJole8gZky4p+D3Nya7Cz1K0e59p5pIEQn3SuIxieIi9cYB/mDq4uobt8i8WdHUZjwyNqCCLNna3NVyBq4lTJDcI+mWP3resrxkdu6geO0q7u/vmYT5ITIN+xokJPgtDlxmOWf9jUFbqMo9Dv16wT/q27lGJxO6Ejt42+HEIhdzw+tBZaGvdrnb6hNNPibKKhrVPkhwIVyhockXrXHkJFGG/rM2fJRsuYSD8uCgh97kGrO9VT1Hpp+lGr9xJauzLbjYpyw5bpRx0Ucu2aCxr1fr/ZL3CqP562wBzUuF+3bkR/tVHd4nHW9fXkZ9Bf1r42uxpucZIkFIUp5EWWr6fEJE7b2Ss0wLAl0962Apea92PxxyXH4JhkjlhQJxFX4IEcCbPp/ZAoLXlkf6/XyROPk+i7pjsaSMuzp2TypNxWR79KaZVeEcUEUqxTY+a2kENpD2e5q6rPdcN//xotpKWol/V6QvQjRf066vjLzBqOqJtQIM/6YxabMCG1mnh7MtJuvgyig9sDPAFUDQfQq2WZyw8bwyO0Yrq9UI4KeKUWPtTiUa1xGN/zwwQhXm+yI10sH9+ol7tMGB6x2KDahYO14tvvKtXBLj/gKtN1/9GDGiU/D8IQ1P0JbbV+hXjJrLyF9HhUiHmWCGy++9qvaMNPg/obPPW557z7EBFo5I+z8IzgCpHvlicfTaRa2KCvcpAdUoOjdVg2do8Ez0Lob8tr5RKt/0b+bz1NTK9d8VX8AUsZEH9X41c61e+48A8hhs6N6sKUtaf+6a6vFs+ImEzNBMMcsqfHvuImCS3M6FhMH/GYIHsh7JSBBJWIqBpQQa9jvi7Gj2/dkVjhevzHhkngVl6waZ++H4xj/AY26Wnfzf69l2D3BqSM1UIFUKJlNMbj/eccz2/5wJZRhTj63uG1+1RwJA5+CPmOGUdBbxNH+L+Kaw1nPOKS8Mrunu0CGSXp44silppfsZAlAjhNgcvOGoQmUxofuSNV/ubnhvdyBR9LrUgyqvz/s4JSWUZIBa5FlpX6OhguuuHANp420PL0rW8uQDcYsuSxKXDFNhHXoKSnmlcqok2dgpmcKwBJqYpvP1tqRdp5Om1akc/JdwyBUikWBRZT8e/KyQT7eBzHNn6zN9P93EgiGxZgCkvY4RjTkqnA5CFtttfw0FKIvW66ThoFM9IgkkiKINNYVd4GPptha6RR1pnBGO1Qbo2pbj7SKAS/9pd/y7JhS6qxiS8QDy9tFH23bVLBTrBeOFgX9tvTwhAowmqDrtbQe80prx8kFqEan4b9zFCtgCBaFbExlUS/2kipGhHro0g4C/lCy++VkL2n5WmPrOWdU83AZ6SilzwMBo+j8/mAVwxZ7Z7W7PLdweFHCn4fARQ2ma1MkkeCz6A7UugAFB+RJ1WFKdvmyXxdUaOg63eUT5YgIMJKDAIrzGGTnbmLD97b1OX2IM8vB+dZr3FGbix1k8bvNgM9nUYDx0bPsZjrsceXmcl2hq4a7/C9UcApTV9eccIzTSKTBaIZkHlyHZdPnYQgaqWvK1vhalHN+YCHTLScVtLS/qoX9PyGjDzDyNBjis008bRwfnXojnXfmKB9l93y3tinfWTWBj5E3n5TYcam4yEsmEZta0DyqP1Khqwv5G2oBtKpeVAu/uJ265xU0cNDTL8rvEb5uP1kvF+oR3iqMIuw1pZ+oeITdeGJ2Fkfs3K+RiWwOyyCNKMi1sSVvYxqyKMv34iTIeHvW7bXw28PINJHOcmFCRIkTCBehIHhB+NdCmcyiUjHOsJsKg84ivDmkXriso+eUP8cGwnHwCHG6x6xSgxhf7Sy55T+iIYeE3DdOa8gjK7O1ba+5sdRQLUg/ncCNgT/q9RWX0uhx23isX6AvQCRwdwerYmfFLUJKygOAHf1WLN+R8daYxxgR6hoF76MYzvKem4Uc22KEq9Io8Qf0zeOi40WeljTQ6l6JnnBS3+Lq72+q9UtuNEG7sf427XJWMbYyiF7eEcPqy4ZGLcwYkuZl4Qj0okM663HzstAA8noCrQhsZzK4ixsOssEoOaH7DuzQetxytyj38+ZL+5f4zlBJ1A148Ar18yu/MgHvilxYb+OE9bzfgWIv5Ngko2At/X46wuiBmOpgH9djMIDYh7oDUB5h/5ZRzPET+AxGEhIXWtOeXJC/+hyGO2je9qO3BTt7yHvKro7i4Z+uldto/OeONooHoqFuuHCMnnvJWQqDM33M6PKD1+Nyuxwwz8gJTJBPCjHLrX4Z3Lcj2HHv0BNWfr2RNEexrPwhayc0ltKyE6RAhzdXUIHj6YG9Z1qRDDwb0sPtO6+60AhDZcOBlE1dZe1ToIlakYqLxMvv6sGr+c9VPgNXCTIThbcRoxizw7myrJR/BU79wWW5fJRLugpYfSB0tQdeLTIIRhDLIJH6T+B33eaw+5m3o/5yk5uRZjOcAPJNA86ll03khn/b6dKCcDggfECf0nunuxVfKHQ9qaEQazjBUTJSncQJNP+vTW15Yj0zbQLV9AFANqYfQ6OJreJ9YaDcDMmu5NK3za5R9kLZ5fskzJOr7f8ZKTK3bX2d32Jm3bk8gMeOUPlR2nhJklSajURKFQDEkqgR2GScyrNFOenFXdL17YyzmygqHu3LOxcFCL5jaUIWQ+z2gBsrwqZg1v2cE0fia3D2qXDh6Zvn38r49slSU3p6QY9uPL82Cf9VzXWSaeUlkkMAvzg1K9Dho18v2zb6KLvfy/PZVaPDII175VzEhBJkVJeFz+9uonyKf/Vl6byusvKD40mqcM9kHD6wzye4Yn5lCU1zlO30yY2U2zzksg8rtUULVjlt56mNzgtXSQEJFJUOZGbCgT1/ZJKX5l4cKCdxjfc8fYrXm/ojs5QZwf729BXj+NG/WXBV7DbnxZHf6yI6xT3JwVxPaJkaFj/dQIDYHBsYgsROsFNmag16EWaPstVs/gmPekCLKZqpOnqFXX7EHoQdV1M7/nRqt4wcpe+U1A64n+idNgxE4o6rb9A4frEbyd9HmhKZC8LZKFD28Lw8lodJGnZcZF6FbtNr/PEX/y4yVaEyusjuFXS3YRRDa4LHUbkqrdBa1EwUP432sY0YGdShtcmg6B/0mQCnPcXcxcTkkKKd5HF2Vsdg3aVy6H7vJOg8S2FmoxdcOi4+SK6fIfds2hXXx3iL/LaKwKD/90oOHmEd5BPm7m4JD4eouicbVtJUbbQfh6Uq30FsG8UfPTMuRkyZf+XnZjQNBWQV61WpGSggqnZ6SIcYWq99XPB9XIudyIVQ8hqYBwSxVaLAuPRjYn4njOIiM+BdIjYUzCHwghPcH/cES1aBeYt/ffrWBsAFvyD+h7trSCDeDkZagaOI9xM0Uc5+CkEU24o8M/2AhwTO0Rn6id5KqOyGKa6Bf6qFyy+FH41y312NoQ3LLHcF37j0sK0kQsXPb93vnD/H++aoVQ2Q+K4AFztty0DzqEn8b+4DTZam+kBT7vypF5B79QCCE1EwHNLxKyfvgu91XCMNgIFPgipwmRn5FO1c9rSIV41dCRkS7Q9lEV+IQRpqde3LVgO8vq3TE3F+rwWkBy0Hilk1Mzd08bHRHaoWtpNZqxvR2sEkJ2/czXUTqUTidd1RF+ZxHMVdil5Kf5E8OrZjB+WCLTlTCUIunmVB7FGmZIYIKr6Dg+4DmzrxfFmjpIAYfPqbeHpud+z8n3cZfVfUdn41fQkrPNCEKy/86PG0xMldU+WVRKilnztCNzGMvNjnkSsXyiVbVemJYey91qlX6FW5A9BoePi8HU8ucqQhmQiJAMqCEjttoesCaN3j2zr/k6BY4JlS29GbSI2qhb8ZtroFfYqamXM4zRxDAnpawgG+Ki8C3Y87jGlWngpvh0UxuOcN0LHdUmVhD6NM4vgIVxEkeRg01wBwtAFsYQoarXbvF4jSS4JJVz9PTHhff041h3e2LbSw11iiNkHA6LoWc7hWFftGvwkMee4lorV9uIKY9OGRdFVXLP1DYN+Np6EOmfjNLxd0QKr6huHWzpH2eyuHH0aDIiHdVmoGjrbyRuIvfPOrM5D1srXnumsiMZdf/OLtBACwBwgMeaErTRMWSBVL0fchTF6ZHAJ762MTLOjHjS3zmK4dy7TF8y54OVrfZLscfLcB726qCWbJuz6npdwBfHTF+PJN9MQ1E6Wjtv+MEwGVSizA1a59Bvkp1Ls1/cJtwOofpEd9oUJpQzNB/FiZdFtdu44M8Wd2ov0on06LbpAa97Rt8bSlDkrz0STu2esUK0I1W4OWp6ect3xWIzz5i38nvndUFCCpSGvozeT/JKGbFJBbaxQQzYJ6RdYUS7aENFNRfUjK4Hql+s6j44ew51hGlEPKE63FPTbCs5IbrL6maDwBb1tJmaXx/BF5AtjOTNoKZEHeF3HmnYjwerJFiMfCOBz1RIubsoD61mC0G3tBig8V0TtWPd3rr7Gl86n6d69jHixz5P4vf8Y370KrlQI09AcA8SXxgvrYa3kmg5S6hH241LKMfxkh/S26QTIMXV8xSIviZt+U77aIQI4tLNpuYBDSh1vFOceU0xdaqq2wMi+e4mCjImmYAp7MFauoEWxB6Y+5MaKWiuiL4tZjXWtg5PLAXPfNugGfSWAhPD1suVkbbLxy8p3kGVXUNZsAXCXhYh9iz7dIQx2xei/UjqQEVcNWv8KZsk25ibibyLsWhJ7HuiPPrq96Wovy05GtU9xVv8uxAsHBv3wmezsrtIiLw0BZ/hwgj7NlklUb+NWow4DetHfNQnlgar+HgVcM7Yk1NKWYJBjW/jgs3MrkCJl9ZCTvk0LqQvrxWDIN/pWSeZG1RE0gqmn6E9c1ohVuydTvKoa+VQeEaj4U/rzH3uIdp4iRIw6qDSKHI2s0fj0por/mGAU1uZfBPGYf0694OKTxplQn0C4Um9QIFbBhyWamyzNU81PZ+f3LX5rnPA5Ntw6jNSnnfHUavhsWmsr96EVuv0X85zPr3msqRPXCg/zIELqCY/LdCaFUj3yCO0SKlgp32hFhE6NfLWnKM0IZVsmWiYzn5C78aFoirggbeAgvXASWrSlUWkoz1ILU8ySMYb9LkBCPPhfhO8YlsxFaIzIudXXmE3puFz+17BP36lHd/poImwxzHAbHSYn6v6dMu6qwiAC4X5+4NgBVMydVIAMtGGI66k6zl93lD+5a5O70tt5oGC0a8rTPs735kNROBCfbBOri/2iZ4kCRE36g/XrArYvNfk2n2+e7nIJPQcuuqEUQEhshj73V5sZJRQhJBngkXPk37y2D4JhhXnviKY6psPiue8MIZILUcSsadCJVU5nw4Se5jUNmKNmErbUP9/lN7Qk7KbbB33FGUx4syEFmF5cvO+5WGbC0Fjzh6ZFtjpbiDG5fBIZmFGfuXgSo/FK7WCncgNEPOPdfA0tenhoYwpvgf4FS8W+qKBokJUSIqbz6c8A4kYoVpLv0wgPgjftLAZ+H6d58J3gFzWmloGjGQIQ7H0K4gdDWJDayhVOmINs5JxWcusAE6Z+4Cvsno9o+JfIgILI/WMkMAHK1QUOeDnphM372iM0csWf9jNKEj3EqbijNsCcRPsRN9AVdklusueG0WsGUtal73I11sEgaqPnOCxqc6IN5bhlX6pxaONiOmlcQQhcgqLy/bQdQfUWk5r28rlGTOhU7GR5SaJP9aZZPQiOYEbp9XIZ+QZ2ebSv6KG/LhsVmmxeg8YnBto9bNIb1RlNJj/3/JsVSZCcech48pWi5xutTau9YjroaziIKjhk9/0yviXntXYfkGxuRRhfO0StpgqGRhnRxSrNZ95II1Pw1EDkc0A87ifQiZgeMu9I8zvJ+jMkcNzIQnTg2DRLc41Rjp2g3y0jPbIOtDeuUy+GAJvAFMsm2ePV2Certmo6CgkHd1LFt0rVTspzgKzFaUXmBdY1+qV7T1wlX7p6e62dt+hXutfCWKtixBj3zxAsnCqQKyjJaCNT7V9jjXiXKZR8qjIEmdPDf6di/HPJ8Z34kLZLG6Esv+Qkic8lOIka+k1TiioWVBXCg2TEi11S/WRBZHO52B7Y4hf0ttCf6zie8G+uIXrSoieG2A4TsRuELPswchvDo6zjaZ1D56+eGI45uYhqakYDTMGFqbPb/NMlx2VyvgjWw1BNZvThsAXtGW7zlbWRxhbeUP12MAGmEdWhTh+FjwioB2RTDgnGCBDPD4I5iqqV0RafaGz+6JUlG1qfbCvsUYzPdGowW7N15+jwDwajvVL168qBUiE9W9YFSjyvDKJFDCIbhbEqDSMbvUcUS3DNgHw1QhHlLV/oMlqi50ehhWvy3gi9QolhOAlsA5HZJ8/s0kSneyJH3DzcbvsdsSC3StOOv1sNwfKTreG2m/duAjOiTGbtcT6Ipuc4+NMNW+Nt/vOsV4BhmAJ4aWQN3+2ObDAQPld2IwQ5/In5qmuOOKM2sdMTyAnxFKWETys2vAgPxHgoFVLQ0T5TkaL1ZUL7A3ToE21AJQpj5FuDkdNMklyBGlfNn6JTabhIlHfRn4qMPm039tdYm8bjutjrIlAGul7BDChw1VB9P6KALZU0LG7c3z+l5mco5o+tpy9KMOE/2oi6GWK6wMc7GA2Wk8bjUsA5EmE8euHPkf/rF3hUMi5YRy6we/az/r+TD0sVXIa4FcJeo5N4gp1Agjf0RU9LjnY2Zo7BZedIDqGS3AW7XclwnJ5OK1muxiBHnzLE4MRKY8xTnJBzO9pF51WZOKZolHjs+FviTdgWLf0tVSqxv/oKd0od6cApLS2K7O8rnLntStNPxpgXY6QdOU2HwkxM0X48Z7D67JMzzAsZ1xWjZoTTI5GfXfRT4Yt44iVRzeIt6++9lZ/zzmtRezefsdiyNlA3is0LtWDjLeOBKZ/gCgpuAgeh7NSJ/Fl8BKInHtZlHoR9sXXI9IYRUfLLZkQyoyz2gLpGHSXFwTyn5cQvHqarRiftXt04lChJ2Yrxtsox9gtHhzo2rElS3IPD69vfG7EEB57Cn0/dMltQ4NprNiCfGdFLvwYGbDjmSCOEgRSVDODejeEkzoh8j6jNOmi7U9OkB2ZNnUgcFhefL+AVpuv/tKmVA97iTQfJSy4qOqZaNV5DyE4QrtOcbYsS06DJdEPQUikibRSGys4bWMmwDUFp0HaEJx/TsaFXzvPl8SqY66TsyqvzL3Fopfy1+q2y/9x9aIi9FjjUq1iZKCfeqW4Q8XnHr/p0/w5hsFnt8QTVE+avSvleZLasVGoZjG1RCs2NJEkNly4HhCKj6z4dqIrMd7/TH52H0dhMwbbnXiOlSFutzsdVqOW7tGtUx6XW2qJo3TOb0ZHzNnZfdZ2MqU9LFAIpv/AL8Of6ZZQ9C1Ws4EDy3U2lC/EXfSpunbIpdAoOXEsjKltfMijraBZCNh4+nK+ENDAGFM3SHqjtKtmwtLmc8m/XCruVQATMlerrylIm6vEZcJTK9xh74bZIvq/fb3P5Oq039jyqVW9mY1dFFMVzvq9jl7C9ayhQolF3V/n/9GJxwRq5bUtJeNUuCLhXUXWY7afeAyXsq7DyJ6RwYcMZEcBFbf52ocYD+EMpQKnHKLfFpbxEJLPjIDbDRSWZzRjNkpskm6475eDakGn0OukV3ipoBP9+UX7Gr6JeGYAdlakgpUL3uWM7CtauCF1FfVMODLMsr75UCXuQSiiyJwtV6thmaMmT4Z80jCfYQcx6AiuX+lR3h9wl36byqd6MZ0pKeTQrA3YBbFH8V4NTQ3PpzMKFJy3XCxEkAGOjhdSD3KcR867JRM8O+SNPlyanCBlzl/kC5EKjoVzJAA6rT+dUpLfReFTJUhugstGkazodk9qCdrR/Gm/pYeS1BlQv1SzidNRfHqxu3x7Z7+lesywHuqBwI8ddPxauQ1ZGVq1SkqIR+s5dEA0sNzHL102GpRXCQecj46KxeyVnon69UfFRk7BnMJqeO4ScnRpDcn6HsEL4qEnSGkLVijQH/CrwCCGLQAmTF/FEN93Jul8mYffK/E4PDAa2wRgBkD0+IJeme3d10hRo25+GCqhdH9eY00msyP1ni75mFFLJWvPrz3/J2nyzwurvC8uWMjG7SL5WtgOc7mApmyOA01cBSE9phCtRojbQMG7RajwtD+ZkR/fYWsZgRz+RQh0q2fG892BTSRpCJ9hHp2v97Hn53uN+ZSvnkmLKVfExxz98pY4Niyxf6MzktxYc8gc94+3bKDGVYbjBb+Gp9vp7WjWQFfvRrnE+ScPRSPOtirBBdGSzLWlj2vwBKUSX3a6lOgJrlzZU3bt9Be01Lxw1l8RxutoGngapoDSgu6HYL0GWdP4ojZqpmjTGVQU5fW1yhE92x+GCZgVQd+hCM53gINP9cPHbfyBn/ZCSNaaGwnj3tOC+YC4eDQcAbr52tB78y7GiaQrguAfF55QYuTOcyxtUQj856u4N6OsxL6B4kszgx23oCVYYuTcfE/bbJpJWrDZwgInaS2uLQepQkTLa4roX2vl3z1Jdv45JrzgeE57EhnNI8OuuGA9VSuHXjc2yYvqGQO0WcYD6Gqinu2yPbZ6P1+8+fjLG7j5ZtH4/gkVj61LFqp5s2y5ZWspJYNGa6JozeE6nyffwZ0X7G8CTJ+eysqtzc7q5MHWiX0EnTg4dyLXrP5Eey+9A1MxU8vLrmNG6KMrj9TRMLWHEDXZ1djg6NLJerg1Cajrsyr1b+friDwsYk+xxSh7la0dgFVisL0J33R+h3oA+9KmKuuNmz1GAQQu3ja4cvwqb+I8Qnz30Jye7TkHAl3Ef+c8JuARlvn+l9EFdDj89w95nB8okYDbXTjy+pHXbtHcTE0WOiak38ITHSQfcveU/SEgqHlBRvjnW7SbfNXOo4F+wYJKlhO3b9Rd6NDTs9B0MYZd1n3ebkG4subIkfsC09gtCfYTuw4Nod9eEtbTSWY1zYQ3lQdjsWPMnc6/ebzmG8XXHWzEXDILLVdUoBXImiKoc3mk1jGMnlj2sFH0ybZa8nSHXtw/KQg+PLY9qsmnGaeAw6FEs9pmLEl3Ms/TjQojRTRgHbO9kVOczu7Jpk6wWvgozNU/WsipkhLxAlgMLiCMhkYsYG12cbQQoBkZmLCIC7wec6ua6xyWDadpjl+1s2mApu0d3DwpytmzDCgWQxquYNQFiQOK9WqO216RzIpKeHs46cxzSUVHiGiZeLcvn+7IvKQ8+jURQmwyW9wgZ/g647JW5ESSpfHSGjmHrsEuKk1hA2X269Iz9yf91r9fqogn2Bd5uklDBCIzpWqc9iiGCZZK5hPHpO7qTsvv8h0BEFyvtKE8mC5kWA8M34+24UfuSB5ovr+kLwS2ZiW4r+Oupd8jURb4ZTbkZzTMG+Qtywcz3+BquXz35kJM6YngDaWUiM1o+049jvuE6d8dZDy2oykHnYERVxplLls4jqG9OcQRbACfeqeBVZBFlktgF6/Ssa1M012xpsfaxJ13fKpvXNXYTwR7G2qafd7xYN2CQjZ+IADVPYXTtii+m1ojuof4LCeo65RUQbF0Gx6WE6Qe6ybeAjUmzePdujvbwINEc+whGeO8l+8EXRn50vUroRxQZuvy8GwuYnCnSt+4l7+qxzHATPO9dIH9hHRb8bwbm381vDMEsmBTDagwCTuKVCKcF34RjKucoXQmvc1UENzRa+h6+kYARP/RyBRzvekxwYRcJvaMQq92ehjJJ6klzooBy4WFkLRDiGoZ0gAvp8UK08Ch4WnSdmAEX4HKqNF7vVzXMzKXzjg7EhEYXJA662wSWp9rlaMH6pteJKmfKD5F0WtHgW4/7g0T1jQqIU+kVoV/s0F7NUjaSA5SktNR9ineLWVry41Qv01gcBMVvqtelZhGoag3Ul30F9H3FsnW9jdkdeVCo0qzcsL1PkKhAOQLso16GGPNhBlNkfnppo6a+dcHT2arKniSTfmlEC2YEADmsNZ6yImWesj9c8n+x9p25n/dRn1XiQOauGfC4z/+myqAlh6ouf4UHlZ3kuEB3j805apOvFNZy7BrRnzgvfIoHCEhbWkd4Db97s7X2cUSL4Cu3FscGOQe0q7VLULFtIpKVf6yHXwzdKFCuDu4zPH2wFK5tgzZ8dLsxJkjMP2XI/SltRfd3FLPqRVFwfGG+Cf5yANhVmVg6kNTOfOvpLk76nNpmIfPlMddu40TTDTcrOOefQMaFWDWmk0x+vzbZjFpBLCEujalheS4FpLy5m6IK/avxcB4kr3xZ+31YsQPldB97oAJqeQgaeOdHqNXMG1C22IHh/o9yfxdQnDierxd8x+2mGOVf4TSzLBH6ij2Xy9oI4WZh1TB4SjZ63/3humzQIKOHJPqLv2XUiSrQe7CUhtrrbla2p/oyXMsBnRLCxe3PDXhSAoH2EClRJu7FmC4W1WNcBm+Zqxkq8X9JHJ/Az+Tq5eO0ar+IQuYKnWFqiJ7oh60hOw/pf34v5/Jq+hIDRgYnn6xz4Rw0dkRRzybNq+VEUbRpNPQFo5QVO5JJTwpFaW9qwbAndkmkBYKY4wL7bgQjDENDo1B4qsrsf0dRfExzRMXVZW0tufTxfp+7NqJ5tfvBBLmoBBu40KfnYfxDtzMZSI23V6edUK+/To/KK6pJg1scgjeWYmolz4h5OQ323dwMSjQGewk+8QiHgsuBTn6LlE/YEAAio8zSkxhEpXMPY25JX1IMfQFeNmQlNSWsoH7L3m9xgLjOFkXgS02YZvwBXdk3wYyeUgvm3mBRGU6TOZLlp8/3b5N4kRVQx1eJIo7YMdfQUrn60tWMsC8B097nRM35xl6mgZUAcWz7P9h4aFcjy5kWDPgjdI+BTc4yKyETDNuAEuuwG2SLXhwMwcBB2iqbb7XKedhqKoKMkM0BlqTotGBDOt62/15jLaBFqfPRMR2hC/UvCjHBG80ua8488G34VCfpB4e/cR4KY5hYOon2n67WqJ+9lnVb5tcs11Wnqf8HqfjvzKgewp1lNwTEIfIwf52v4vXEq0uBPnzstiaTeEiDSeYXd6RZBq8/nT+v1fj61XFJN9nLtYVP1OV75aXlgLNzJoCFA/UmoGBnB/1VuQzRBFaxr/SDb0PCdYWFYXViN3DLFT7MaNw4meQJ1PH640r5sBqlBB8jZPoC245M01UtxY29VMKe9y1nZ1Gd0iFqY/a4KBPCHohMsdumZSTH5VEo31ISC1Izmm/MWqOFGPx/06TGcuTo7SWXwiJN6ZoXOdagk7aXFyJsyT0gc2C0zTZGN17goC9Ux+dwcViikDd/cwatiLFSIBX7ZHKm+AwXu83cQW6yy9XUsUgMP01UHWLrjfFdsdhBrnW1+7oNjilm3VZ2so+4MvoJImqvzrpXnCxTsIEas6OR8Yw5KoULJFFv98I3/NPNS53g37AZS+BGnUBGC5Z5w8Vc5tFrlvr+9vP37F6NtcoDCicukx0YVjpVahO6RzmKeF8kB9Ill2nWGRiAH+gB4CCW5KHxo80fM4/Z25FQIaoo4DyevBbXZE+tOBheVDuG5b8GgtYg1ewPg+NMxEx9Phqis4/NgTZj0ny1efr/Z1nmEAPtnnG9zToTz6tumwRgNHBQUVhTUyR55NjZD/cbW/1AUfYbm4Ss4/bPG4g5U984jwL5Agp3EsDzeis+riUC+4OaIY1AcQeM8OgpwlRhGjwtTcna2k2mpqBANOWox5cUH0Fgtt06ZDiutcmZJlcrqzhaVhD4G1EhueyNniJRPhd0nZrG1641bf0X5XjK3hW8Rneu1CDlalbY3LsH+URn20GaGdTTTzr8kSP5mq3Eu0kR/mi3GBBa525tk9WythUq1wn3ZzmctMv2gDiTZADbwBH7nCO2nGwSciZmJB2UDY/SR1EQB4XHjnZVxJy9nBhXHzUMvV5WF7waj5IWUYl7ijkjzA7s0yOgyPiYrqo/J2it/frE6leRseBuEybVNCvh6hoaUkRE9lu2QZE0uh3QS6orOaeb2IOZok9/92CiJ6aG5gkuzMPb7dQPxZoip0YnVnUFlEdkJZrxUEd1W8M81UysI3sBl+aRHuKb+lKbURPx+S0Dw+E7QgTlCoca8TdXfWGow0Ll9xWhXtTLKtfCu12L3QIppPY8mX8mpSzcMVYb8S/yus7cDzHK8WGFDGY0tQkx5j4ndIzBNOdGTFid+vdFASGEHU0ktRWlMydbTA9hU3PDCxVAEtf7bPJGN4eEAgwtMtsdbGPFZxNZFfKj5QmjKiQCokKgLq4ZVmrkiu6Pt1xeNR8beKkSG1OeQOirC3jLcsW1usnzFzNdsfvyo9NiMLawj6ZRvqX+P9v5qlDj0aVSsdGp1Cn96wffhwCod7CiDEszwaxUDa9iqwqCyNMmRw114iyFKjzKXJg4ND/MhyuoCJ/CIhGnGudZGy+2xqTTThxv9SRIvar5YioaaaCYK47WnWt2yfAzkrInS1ZZi2mREzJBYOts8GmTqk/o3/nBNoww1FRE4VBCUyRsxIty6ezHsNY9l8TsmHLppUIpiX12CwbBDp9x2baSdoric3e1bo8CE1JdNgt9M5fbN40Xzz1P/BnK+2JmXtUz+ns3p1+0NVc6t9IAnkMxEaqf68hEI4eZ5ny/zPV9oWSaSoTCVrazg5xppYaHaGRofO3/U0gpNcEkk5CAzMz9S0Nl6jHZv/w/v1LCjzA3MMdzxhkmyR9elRiL53N0zvqIEU02xMSRX87o39CjyFw7WNwfpy/q2l2iRCZazf3kCBra6CyUPsKva4fdlsFm6OgjdM90GX/um4OQJ0ZE0RRd1j3AXrnGPiCwBv1uu9jvUwUh202jD5iM/1jtWE4o9kpwkYHmo1DcGvYNWlW+S731Ably3x7mgohG89vLR1dsUK5Sy4MsNLwYC/flXoXw7AIMvPoK2NFQGM7cs6/VrTwQgzHQa5GcD2jvy6/rilt7Z52d9MvgL5ugemBz6gVtk7fuBDP2X6FZbcSjJ95KkQ5hwlrJNmZzmoGw6gT/yD7L08nFsLgC1D+dG8BD490jURwBnFe3NouSqJfQ5jroGsEond6/s6aimYLhKyP/TPpwwXiaXIah0Af1S4muTTeGXvFeSx7b0brudruhwPwfpsdlr6FZ0RnX/50RLURKSYjVzZtB9K/Mjr4yRu/c+ynm+9WptGXZe2a4oS29oE9x+ahUi70xEvw99EhvZaJHWYlmcM3/xbtLkhtqUEzXIEuQhGCp7A2p4SwuVys9I/T1ElLX+nrLxs4gWf6/RFxRW0BxUR/8VOxy4lT5JyrS/1GpvKOfC3wpmTsg5P+i/fq9XMx7uhWsQxQ96gSOgDfkkvV85uGe41TzSEVso4oU+mgrIr+pM9uKtP1vvt3hL6uWj/AuZpjKLdsWi+Pyl+++zuOPpEUMTUTlXibdb22ohdKIKuwbELpogTcLTZrva/DZ8F/w7GgPoyp531U2vy2RFYLL/wE078ZwUW/34lYBqou0IK+LwuyNDoXKvNxN1X8JQloa7qKtHBRz/YGPPULpTnMtT/FzuAkOORm7KNtU2KsqR6nhMvX82dTSVpWSBweKLZALj6jlcdjW7c2stynBo6/hmH6LG2K4nKS91yGg5bEO/Oh+0LWnpa1Hh9rHieRGnMaqqyz9ihWsCC0BDqeUWcqeWhnK8/4q6P3iYDNSellUPRdFIoul0OzPeHkHz09T9NPMpDp/oG4kYAg1lX/Lx5nklTMoAnpZJgxAjoX1I6gGbQOYyTsX20XRhaWuQH+KmPiEkf/QBue34HCuXirJQkdW1Xm+5nDYMugCWPo41rH6GKNjU81SlO1lD/AYPmFTaRxH0HreXdPGwIt4BIAwLOydlpqMofjFbxM5tLd2zfFoHbkyDitFwpdsizJK6BKeNYEKnyjnsHsWk8u25iZvbVeLk+Nh/+/ny5x3FCNiHuUZTIk8sIdUV1v5G+9WHlLl/9rXBlEcUqMhq/c+SF3uYy70UBIX43lCK2JWjiRH53ayu6lhHUHISAF8BVSmx6xrgUdkZhIRV1/BcqzV1U6Ub77qaBhtvnNo+aaHOaWr6ocaHxtn1pJUaSIDW+L4vKG4dVpzHknhAyBqFIfFhTm85zaOv5AMh3gMauqUJmfe0nBQf/Lmo+t5vC26NYZuH22XiCBvPRRJsz/dBN55JnpMIfpktWB7iy3tEYEXC2fxL/sCwgV+nroQaToXtDengxVb0K1UeRP0vytD88+eAycQ71aE9poH6GDuEHeQc6dgpzAZeQXAAGcyCcPJKN+z+OET74/1ViJj6ymDZ6PJbq0rjPb/aJUzXhOlVUUibd0Yi/aGiR7TZrQTVNa8/A/yA24lEGZVFTamJlvdhvILjpy+N5iFvmmSlUmQqZBMyeH/x3Z0AD37OYHlpwO4zzuoRMBLU/Pgr9bF67kxgypERVOp4MltvDTbM4TCm69bGcYq+wAiHhqKVxSzYtdFyBMwnWzT9yyQXCeu6w826xGnB2My9WOsIg05Z1lu3dI4WVx91vqxqhGy6LMOd0pt9E2Rok0uC4n/AXdgYVpXDa4V7Z+dx8NSXTDTdKDjjM/3T9X49W7AnTzDA9s/aP3lAu7zSz2wf7Adu4eOdrR1DvUkkUToyWxDCyYZG/5ErBcFjZolvqSdgKjH9Wc10QAoRndTgEKTcXqBp4NlVoWuz4HSGBal2/oLkm1rHYcKBHYA/7n+4AcoVMi9mBrusX5KnRpzS4RCIn3GxJygSAteAlIrrRsgFrC3H/5qnmIsjgiItKPU3yemA2hJffdEjUV87MySADtI+OnPJeIxead7oHmSFS2p0vHb8NMDmgBV8eYNsLXeQW4wvcA2Ca5IU4JgfHGOAN5y1FgrP1ipiBPONrbojJaatRQRV6sYLmvpyFEB/T3MCjYc1wBTy3cvmc7nw98cCCyly5xm5LrJe5hi7emlrY2I4Xk3d/e536jwecHHK+mQ3zWlKW9oK+dhLK2CulZwiVQg1LDEUMfzLAnIJmVQszG1HSpKBNepib/FKD8xV3NnqsTCfVqdYEK1SAJPxfdYz7ghwaA5it8dT6SpzfRMUTe7l3jxM3LZui9iyNDQLXUnldz1SSkc5DpJCqqUMlHJWJir9z8Hts7iU3HhztKfe0AnJBFSGraIaeRAjQQYMlZ5fuYXSH8E9hSW22o8Ve0FG5Gasq+dBbBiHP4EZxc4bKauf7CocU5LHRfR1neg4DqFAZfql0Eoe3RBx47TrSz1tmE0dUxJ6qCsttaMkJhPt7Cc1GULl+ztpRDaNKSNwB2+/ETGX/d/RMCczs8ohJsIDe51yKvzlqMiqpcSVSSLcGzR3EkU3n1RWD4OdVgpMqcNyJy54erZIuhK8aOUXnyDKSz6Rbk5VG2nxj7tm8NXB71Zn6GIEWHKc3r0gF265vZacEEQ2YTEApYe1XjQTIx179q0rExHJcXnEELpiWhtHXnAPYWwS1Coe0eHYcoNBG4Lb7saB2y9XNvBcI4dT3IrdU4seFot0S+57oJdS75PsOzeErc8JhpBYnLqgyxzco+KGMIwH63yvQNZRL+4yox3TKKmHhMGF/ea4iAIYC+4QcqK9Vk95VHV7JJ6ixhnPJk+nzskyY3yv+SNJhizfvne6XayGwYUtsIg3tE+igDM8bqO46cRzLFON9P8dRBswlmkTIT3YxtfjNeCZ4PCkHSIK/Jh7nX76KokwszqJWNQ9lFBl/YO5VTldwbEb5/ZFLaOcuZ3Y3hVsiBDD8KC/frZRVZ++7cPDuM7xKkvK05GwvBkOP5SFwLKEqguYB6Tj4SkeYJfGPDrs9jlMQadzawJuW8ttdAOPn/3Da8EV4hgL7vuJqStycOxfeWBe5Br/OadxFagU1GwFeTG6uxUgHrRXX5BxhfaSS5Zy/I6uO79FqOb0QNAwz/XhXZkSVdCtm59bHfINtnU36OvemZfnh+MOyfTV158hOAoW205UmCMDmLPN2TknoyFO2VQyW4sZGwASB7x2BAFdHiE1XIIiRaO/NZR5PKzoCDNgoUMUqKA0C9Rmo1khgDuWnFBimd9AEgVIYwalBIdDKmFwmCfsRAVRDyMGywvTefUhgtOONzpkhu/M8Fzd/VjyGY5tk9mEELGpGAQWEyvho32XJjKZE/jJ/sbeZH4DHliVBjmN0pfCLHhhjq+adtkUYpRFG4WOI8Sv9yDgxx+5kbsh/Jpb3mlqJkpfIdWH3VKudpIeIMqeURWjBhbEIgtI7a8jnE309dbX53aWiJRc9rFcqgDb/EzU8eV3y2yJ4UOSijuJAEmWD3bRDmVYwbb4CYAj6AgtpjZYGkgGil0E1vsZ/EjcW8TzH7/qQr1wL3f7pK/CDYwmDvj/gNtGikUQfz1GRhzBX9Z8QT8pMxpKDXlf9TG56qbGPNy/GWp2DXoEcGrvBuer4DB85lXn/rOftaHSTRmE+77MqKbeOMfMDNPwm4E4izWWahAK4NL2i+Bnm6l9R8S+nl8voT2g1SctjLvBW8uj1QCcmeGGaKOQMu9VJexWG4aROyOAJEychivtI42NKIczh2eOW+BIv48eU4t2icd4e9F5S/BBiMybTIAd0yzjKlcCq2QFUS0BelSfMlXkFVI24FJfkjwDV6fPABPRHmvCiit5CeRjaDy5Ow+sU1YWgIRfNuicLghWPcPyGGxVhemjpOQMGZOI1MgSuMAtQ2EAKsKfxFF2ztxQ2qHAhFu0tzMfkOLb3AWR5r0p1I19p4KvXBuXcXeMPmVpN6Wbi+5LyaDnZob54LKUmU0CnI7jv/aiOJC4UdbMMy8WdlOiq/vRHP3sSchdXyF3wVMJcj7uMMVpDkD1HiGK/9biaIZndz99DJL1vyw7LJ7oNkMbLXctR+hXsuJ/s3j+f7LheTCPHtwpDiHMY6Q3PtxuNQ2F8DrflTFGBOzO+vxf4dl4vaYW/GavHu2dYWO+StSFCVemnVC9mLHbzrNalU0iS3fSYAedg1dLh7/neW2MwO/dmPBJ2bVThWxy0ORCxK6Nn9DIyY1sZJoy5h1NHP6OFPjT/a13w2QiQIVYQUCdnfzwsAO6wisE1bVLAnkgNxCzcVD8Ed8BF4ZiV/Dl9G/zDt8waI2+JL9pC+NY9LcGxElxSQgBJmSnPHjCALM6vG937MfzdEXdEmHLkdmaLmgyFkrtocKteZ7i+lxOOkNYo40Xp4Kv4O4bnLqz6e7oQ6G26m23MEBATFbTbYHupacsZ5zc6UlAsH4n/Fl2V2Grh5r0LhzJrOyiNyQOQd9UzI8q738nF3Wr+YxrWjYN4nusA7w/SYS0KypQa4kl79KMr00UfFhF+n0R1X2tzOX1iSLd1eOYi/YWqbJIdWzFxpv1KvW5XHTfFGjQgKRU+sAkJ6gwSY4SGXzAY+HCmS+mwp1IryJ6Qy6vaax6FAw0XNGgIgDLfFzWba3clHOKiUTPsDfCzKdaEFwCaQxJakm2vwOSNp85Tf1in/sr/3oALsmIAWpC/s/dYR/uNbSoRcX9Otln1/GfziI+Vn1ovcHQFzbWntWmNzeUyWLFz+HVLSnR1PF1m6WJt+OX0WjSqHhtoAEZACVwjDJHKgQXHuJXKkgqcSSSpyIiV9QCI2cFdz2/Pjtbof2ToPPGhKW7HVUb/ifl3zyMCEPhXzQlFL7L+XvYHNsIxxld6Gw1d185UkMm+aMbqgMWIcuKvdIZd/u61fv4YYfjkhbvWYVuypGLczhB5c4N5gJIwD1gtLo9+RV435y2j01x4RbZEIahNQkMuALSyP2g9ftmHiajNBCG4uHmR87cfKsq899do5qnAKYqOnTMCZU5SndlMXy+5jmO5pgMtYMkusJCtJuaAKd72XcDsNgOo5Kdwhy+8nMvguFgCjq/BTi8H+x4AsrJl7MdWQaPEIoWPC7hOwV9PopBUTzuBrTaamv3lV1YfbyP83poMtGVp8HaiLOCBdGvl+pvXVBLfvkgI+pTx5Viqcb2uFlC36VhbvMipVCsARxpHLzq3T7aez35vVwOc6WPD7RosEM+yYy1FxUQc1X/DMNTeRL2FRbRysfkwNwOjDufQ6/u3vgsR6ij6tDYrykMjR5f+EvrA9us1je9znVCEM8AN5Pd7xYsDFtSuBN9vR0OhSJ2t22gTwY7jxN3UzfuaqITEgAFzyHApefYcncaBtpIFl8CeG6PQA44KDfbD/CaoDBrCocP+jxbt15rjasl3R7p3b+S0oLuY1j+OzYPpaz2PFaQf2Elvg7ClWx8IlDHng72RS0dNZ4IFUh7b7/xS6Ci1boFZ1TNTi5h/ikbOGG0byorTXcWdLIDdiBn8Q0f+Jo4dDF8HrpVH+6qFE90eXhvN0YQ1qe77vt72Y3qIRjuzsZo7e8aivrykjodkJkunUvU8JRXDWr5aRutH3twSIPhLJRLiPSOms6bTm1QPuK4tufS9qLgZxNzxFsMY0DsItC+dybSnDXWDWmS2odXZw0ZKbduboPIimjG97mfLJ5eWzHWCpFwj+aNPudXQ+fkxcB2MkEyIxHRa6YE3mVGxDm4nQoW4m4OKdcmt2t9yvbLg6Mh/ZWKV6g+/Ds36oNIEWvTLgLTBSkY+U2g9qaI3Bsn0vTA2uMbo3vbQVoXKXNGCWzNiREw2Pgx4uZ0IPDxS76JQBVqNjosl966p0wWwIq2BUz45AgqqS8EcEC3lJLxtOUf0SekWUs8VBqE+xP4XIDZvMYYk0R5prukDFPjbP+HEccnNm1of3DuERVCXhFO6SpG5RGelE485ozAgxWRnnUl79tOEB1jK4btUzKmOpl+qp/BM904tuCyEKkTGf3eB8PMb8Ya+2T3JUgHf/aUHd/0mG+1C474EUPMOt/hpzK5jVI6PKI3iT9hEdhBXGwrUAj7NEjVp14n1Uqd2mhOYmQkiPe8Z1+BWZLldMaM/RiuCL5eOxwyF3GeJYfpvaUNaNgbo93GDDVGzaKh4562GYeI1IlXt5FjSK7RH88Qt2VQ0q4ncRrdY/FHcfylWwU26SSJ+z1SMPxq79TUBd80nG88ZYXSZmG5MYYF1ljwf/mL828BEu45EuHw/xizGiKiM0H0bf4b6kUNaa+qDOX4Ebm4Td0RzfZE4JuGxcvu/3N+TItuwaK0XKRdw0uklbxBA8jwG7QcncUAv413xWBoBCHXAaU9QHazTbWkKE9R0d0hwzS5OyQCvIfvcb4Wm/eZZGxWW8dEpzGdTIGLwVxW3Kf8xaI4q16NfYHbdv6FkxHexOf64ix+Nmr+Ttcok4GRdCwocyJH8LWzBp3di4+PRfwChx/jNaGLsTuBnkdU00HFu0I9hMfWBhEvIqMH5ehkf/2gl3zxAAeiHOckOPzQbzY/sAYQ76qOBhBOJjQ82p4viRvNmLzwTulTjqfYW521k/8REAWbQmHPDx0VuXJDMSYRwho57A674EuwQrzyxOrKuFt9yMpunbJLZVGbJXsS92IViMml3rFaWaSWUkrEX9y3iVeg3dC4j8FXw0Ia0qyjDsSY685+9ym9CLeZ4lTiQvPNSdxt3ac+zSZ0A/cQaZ/dQD8ZP0Ez/uWiDYFTZA/InSZ01J3kUuYNcplA8HD6Ro/cjuBfxyT1bc5gvI31wyNtAIctzp2WNVbqCGrVJFyNW535bOqzTZx65R1yGc0QLkfkFq9Uml+OzX865xz3iy0yBzB0E51TvCWuDnRFXelSGDqCAPtIg+qelGK1uiXr2/bCE+ZhZyot7tsYUgEcxsvpy96TzncmQpNviowO41KWVrvqquPMnWypD/Qq0LN9w95xKnRCIUdJCEBpyoGLQaHLz7ZSB37bTmDTEwseB5y35PxTAqXbuWbgYjhM98X03yJ1kA4hW4Nz+bElwNM0SN4ftCJuPNX/WadSUGASlHKQMn6OO6QH4L6+GQh3fK4mhPsjgjGwbO+Kc4Ku9wt0fqQ0PCYjRdC2XTncwkk3oamBl046qFO2scl64PcsFbpGolEKlVdNWfr4waQmDgXnaV2k4NyGxBzB9l+ylPg5pwgFnyVRli5t4qnkFUEod12h2Dr21HsnQvitjQbigRSMdb6c1GIz2vScePwUsbQcHg0ga1NH5uY7LiFas6CqLzwIIom0NlLVKCLmFRrkce3DOi9vIo+q8JjBFpcCCWEw0Getv0YA2MIUkgfg2gK/HpoGea2g4FvEavhpUTtG+y6zVVs70PT1LeGm3kMu369GAo9zFd3xzv99Fto7MQYrW0c1bMnQQy5UYcGa7S/fyoac2SJsoy77U89RStdWVIT8ozbkbzgIlfzZ5aGUqM3H2QLOZJJS4pAKD7gyzpibchevVFXwKWISOF8LWl7WBYIQ6onOFxVL8mMRFheJudLfc38rDecrHTa3fQWPsdN4ALCzThmcWzo+gslGvc9qwvoSmoJvxukBv7adULYXiI5nPHP5KifoJhc6EaHzrB74FPfjr2Yp7TjEx3eo0cygiq1ecmf/e34grqxbgSZgE88APwzsvbli2tGwm3Hxq5ZFoJd5CxY31zb2iRbrOYPMhK6A8bX4Yy+hSMoSGhyAsczhFIIGZfXsJNF48a0N17KrK7ELr8UAsFP8rvfQ8kKc6shpUJcJXqW1j7J3xDXml4e99J/yrD0VzDx8vnc+JYriuevCkCMiriz5S2acw4Mqtq+xKIUMnu4Nq+aBbDlr742gy4ojY87zHAFwE3UU4d0eGp6lAE/q4/1+wt3MzKzYw5HX49svF5X8Ac83In1/mP4D1t13ZEtjckWwsf8z6T1kRSLvanJnSs9FCujSSAzOEmSiteG8e7zPgm6vT8Qi+AcHA7RJl8V0OTPIylKrTk0ky7uWFh2wzSF/9R8Z5sBoALaiyxVV81qM9gu/AWCTJB24VsLRdwAMFpxr725B2qhokuVtyxSASoLsJXlkCaTAi4kR+H+Exz3Gt5N0NXR9sAgtQB7hBM/XF+PeFY5NfXqfaKDrLQE7ScQLfYceUlAEeN5uEPATZkpNfwMEKjx3kUKtKzJP4s3A/XS/QgrnZb4wvQcx6Sd2M72lbOovoOXB02bwJ9G2nsYXsY4AgqFCXEiXcKkDvb297gB4X6NCN761EtBbBf+ocvoKJaUttk1QdiG2CYbwrPz0mxZjSo1Gp+kqtkdPYhbdWCpBNJRhfNNo8iLWIcJczWeUiHkbpw//wC6r8OZhnXmunXxDxsESdfL81MBRnaVltKckPjiZBltsHAEkQx3e5NZ3Jt+XKAOb8nHwlnCDRHJyfIvVIiThh8TLtLC2Sbp6K6FpqYoGFGa0tmAJdsQA2oTEwjATJ3DlstWw5U96p6CTpRCt5ytCmnEpRLupCtr1ajBRR/PPFlQyUcb1QlnYn51aOafAaFQhAq8f1o0DIkUMkCQhO3m9BDzQS7MOTZYDMadeZzY79WipYvvs+NPP6QCY165ccfizBsyGONtVjERJ5/93wrbApkyUVpLx72vyKcvU5oqPrrk89Myy+F3QA2g6ssQMHpCpIdJz1d3Sng7KZTokuEMe6TuEq9Ix4ujdGh13/+LqknYKDo8BD7FVd3oiCDNz4ToinY7yX1m9Lf1Q/bzkgnR1agy6ge11moBv+5JSQAWTqKCQRlDbvpaJAAUzJr7JydcIupVPu0wh2TwwCodTfW2MpQWUSAdcTtZ/QMHQ4NeMTh4mjg1kmjW01QpUCvqHFBtjfz8HhcB4kslxduAhWtR7STNwJ7WYfv6L3lB0OWwQd/19HwviktITy1OsGs9byfw9XXDQ5nOmq62x1B+u7cwUkgHZAfMwxONtbtNeKauTRWm4GoaW5iQwjLkGI5+Ig0dSMwtipNcgbV+HfeZhNbXpWJv6gLjju22Z+wRZ92Ij2sWvPV2cd8ht0DzKiKQgUNwREiL08o95O7cN6wInj8gIC1wnjgZ5r4X9Fmxo65KnnLHDIROdrenu6tNmLjtKWGEnM/LPnXCqHQ7Q3iqapEXpR2F8HRHQhraYjqwTzAhd6wQbZJy83JBXpctqmkUQKFWFtbRcvKBlJK0MfdFTyQpmOqDjAkg610NdNqHZmQz+BuxBN7svZcbI2jPnjHYOET+tCQqEB8IxsNVEMI8VDUofvPpNqdP81TrIIrkiyZg7t/b+/x3/Bnx7lE/ZNRBE7m73iaxBwNxFxq3WamL8wDp+KBRZOpSB5KmYUVeyqJRup3zu9YyonFN1E0kCETXdnjjFsyqg/8vWCUEVtTA8CNImjAxdsQVWyDpAUY8BCDYmGPjOyJznm8uQOI5EAQFWis1PUvf07Du5U2jGNiambZ1PG5kObMm7NjJ0ygHthn50MuBPczW/KHAv12O86qNmwzHnpS5ecHxBRufZnOBtxvUBW1hGjwsM0XM9Nti9GUTcr3mlc6Jfkz2zhXhjGOTJWG1Nmh/22xq5k3GCsG53tf5JUa1T09hMaVYVrxxhM7yfLTgal1XMIKsM/6WFkufQt4iIS3gzxF5sFuYltxBlSjF6tvSHrzvmhWgLB9pGorTXNGGAZEkU8L3vNSa4LyNK0GVkzkq3dHSjwnlcpUO0OsQg9SxlsxOGG/ouvFVBIuartY9EEZYl8xtcIbQ+62u9DWPV0hq/1LzyIFAgjj6aupinmfW55IrTd+gOOuVRyWNfG/8PwrifWuTG988t1d3rUoCQE1O33+5/jGyqalDz+3qs+Vk3pAvMmve14MtgDlz4Y8dKwwT+mYYnFClDDnv49+cTO3CXjlgOlfUlCjMuVnmpSqakAba/cbZhECIg5qJfepD7Zvi93IvdADdT8TXXv2MAz8bhi/QlVHQ6K+8kDN7JCgGWdHZpbIN9VJVyCEdu0xHZ6MOFL8eizBt48QpSx2uuiy1d04BftLhYzv35luKApKAewuBNx9DxQ59rG1s1AZkAIJXQLLJvwK8sOENYCLmNzoLR6mPUuHOAXsDkifAo2HOMf/emZfNanIj0F2dOFnw7iVUzz3tpkedZJ8vp7/ybJ7lfO+BG8TdeocBhkRoGDdpr7WBHW3CB8yi7V0cLQoL8QT31TkF5qH/VupwuERlIbj5iejiYNqWzGd666ofWqbRRvewjKactgdxbNhMH9aS1YiFrhcDh7QnQQ268JpfeWVqzDZUz1jqjxYs25l4OZVe2wGAIbpMS2twjD744K0uJ/q7xA0yDFkDbd0+5fnVBvNcPrlVTfGpcPLxpc3NpR2flQez2v2p2yGUcBbhAvAHoKctlGYTx5ttlByJfhy0yTEuGeg+1dkJgKST/H9YhYtQEfKe7o2UcQ2wknGoSeoYgOpZmXKx3QT/K9g/FqKwbpWJVbhoyAdYSeAo3mM+HV6tpDB4IJcKgbGPeYS2EeYHpV8R1GFlaSL4TvYam8d2MHfXYyy8DTVPgKHYEJzXKq2ObEhEEscCIVD8q/D2JhkNstKbX8Hf4vg5qOcOW1GL9xl+fBmmucriMVGaMsKJhn1ykGIDEf4InDLOymQh9fVdBs34kzbe5Qp1Tb5A66wb6jDzTbeIy7C58Q2Az2jEebJmSraBc/v6MY32w2SXtxwpGeLzLY3Pr9ebUDhFh0C+Bbi7b1H9nS94bw69a2KdrTJA46+cP92rWYNGeTRMRIr70Bg98fLe2nh/2uZehV0dV92UKPZFW5v6Cz/NqMTrFNJNdfdWDd1xIRjveLH8SdFuwzuLiNk176vsHv1aN5RUyq6suSi0Avezd07DAkYiZHjNVwT75yOm1pcGhcuuYOO7Nkf4lW8M6WeDivCvG0g0+zigZZ+2NsQA6PRVDza/3wa+MXfDmN/0Nj9cdPYjioZn+S3Zxi3UXXmVlgmo4OYwEgOC+26LNlA749KMv/e9xwu4+9AQkZeCyD/LpDz06Qs/QQyvT0kLI9os+E1JbJLOcS3ul8ewxEjDUxbjnvvPkkHeWYP9p5jvIov/9c8EiQz7CsEkXZvkPFXcblxkx/FgdtKA6X2y+CHEcUYV6NkQMTvYgSgzZ1ZtlVkrxydNLwoYhXt6HurBkRc+JqBWy7LOYhskTbSKp8+ulyjfzWvfYBD2g0dfxFu7oN33PywFaWZBMkm/h1D9s+PMT85Dks7XkytZrCMxLVGR/FQlDm0dfRA+fEa3C3vGfFgUX0hOk8ZemvUqxNyFUlpdiXMDtj2pBFpz/lwflX3T7k3TyYzshN/31yr6RlobaQ0R7cLnzUvQ/2qVV1TUE6i/2qsWYnAe5qlmcAN2tfX+0HK1rTfJdV35EYRHqzPx2afB2OGENhbhzoq401PfZJRfY45xeD1KlYaGGmgAED5YLMMu/rMgn5ejBv6skc3nGZQ0jNEjP7p0GlvUPEcfiuYgKDriKRosW0TUVLUKe49HqKLFF3mHwkj9hWWPjYjJzWfujHd03wHRNnswf+UqCmwucToHEZXv7A9H9YGn29Wg6cwEK4xmdGLM7aqiDnANNyxrTvQ/8h6RINdtMBWcE4oEot81H52an8XGgca+o68Pp+A4tORezpMtH2kXxp7tfawwUK4sZM+iGvwFWYAsJn6hYv36bO28iyL7PO9qHqjwJQLEaT4/m4nEHpdMfL51bN0qJBUS9K0Mul16SuSeQRh5oXdCaBcUNsBFidMFfbmEvV6KjrREkq2pOh0bn78GE6aMIq66ICd5+Cqqylf4DiF1JLlQq+4bLTuVopfOaHI4ILvnbXJDW+eE6ZV7UX16IPUckuMpixL0A1MaMxGeW05bGSD7Oq5qbkyqXkCggbXKg5zlMSYS5SOhrzuXvquJNjiR/zpTRLl7mT8wNCAUYjzA8VpoP8MzSax3OUah2APq33ksWXJ0gCYz5A1WpN84L470FBl6VnnbZHyRG0yMgYRwtcOnkaimP4Po3fdk40jVDBINWxOOeY/DAKLLLl8GXeXcXqjXo7v4yJP8i2sxWaAOC7Ph5cDFERUmnCdwI9apMOoZWqm220WpXaO/YAnKTbfskJVBFOWrRU+9RG4BftdfkOLBLlfFyUALnqPZsuLvIO31YPeOQxI0FrcG95KevRB5FnXsmhs3AnI0KfZZl2vjxemovwdeI940gflF1+1FnqibxkLfbKEK0r7syuBodBYMqq/b2N9u7aihRXSRpCvXxQz9ecoZjkQPIUlql6CCO9gQn0mQCIGCbx025r3x5OHfZR7CIHbt3nTBPEYHtSa80s48O43s3ePi89J3Huo/80jl3BpX5Rgxtje39cDmQekAyHPS3CpABDaAdDJ8yLE3QnZ3cfI0L0fdoKAm3P6j1gka4eMvtTV25ysSDvbfKbw/drdhtjMl59kjvyrEbIbn6DG9lTmb/JIEbtIK3tZL4pmFRGOcWp9/KPslKdWtHarIeuWlqR4JdZJ7K3IcejcLgaavP8ELA74RnjIiNkK35CXQxXxchChhNJ9l8nCSJa/CikEh8b2au/rlprJ2fsVBTvdvpp+NO8t6Z0wqVGYrtniidJOhuLqefL5Wsnohy2CTWW3OIKRagFGao2sWHp6EBfc8+R0SPbtl/ULVkiiqiZuNIddvu2PHaU2qQdXBM1yHWphOHvqj9SDD0WJ8DIEBbsQ15L/0cElecH3XNq8iXgmEdlnLvMd9hwGrc4jX+v6yQ0Wsm2XKuWXEHolrEnZTJFQZ46hFNnApfXCaQSXtCICHiOanT55ONqgI+ELbiaS2oLBGa2wDxCdABejOqVVm22hju1GbN725+nZVcqxdUv0e6Y5X6drX5JhINBnwnGpsqJr2OB0BwuzIbzLaoko0AY0VbSO+QW1IUmDNhbkh5yUQF8B6Ss0++KNEJHKPry13GC+g72xE8cLLxH62MdR+FhHyEXlahgqyAfIGb/DsGXEy3zDr9TRoReWERDGbYt40Vbfcrh5oI3T3gTN1o9/d5lK0PhJl3Lvv54APmYIFMyyDIRnq6Qb+IvTtrCbBgmH0mxrCi3ZJ3CPIV1PEoPLFW8hKR/n5QxxC8joMgvojJuOjtFElxG64gkHZHwI86pH30S3iag3AUfY5msOZZi/lxFS6rIuMs9iSCZHwjsARTQDP9WYgyKvQ5ClwW5dTOqo/yryhj45X65/8hCLWzubncntjmZhqzSFJE1hvfjkVXSL04DjC8UwN/Stl2nBZweNOh1PEWJbJhsbsLmzlhrH/CmfYZzoLzYEs5fIqqFL02veSYrPqG34QUQtvytyGaC/BTKVr53ZzgmTFymZRkNqmfAkoEIKIFg3Ssv+60CJVh+5q9vxasqHWzWhrqHuYeHtaKuyRjVm9ZgGotxP1h7vYH2YcvJUTJvFfEnH87DlgykX5JcUIupHSOtwWU0RF/a++KX+0UR1Kg7KamxDQA7o7h3xnh9zgGmcQvckxZVxmlI9++oVDhHC24fI81/M6GQMxaRY3Dq2BW2sNID+BKa5n6nD5HzmwJTHHsf+wpdT0rr1EFaquIvlML/ZdIQ7HhurtqJkiHoS9n1cQcmXLGX2uzVem3JfxXvksMGvCkO/kLpgmQLjpY0taJTOpF3xHp/XxASG1PNAB1/9JG6wa4lQYfuCgU/DfMBZBSFxfZ3hgGXtLe6mWCv8LdcclxxdFpKGC2uiw3XNaMFnr1Db3TqXnrUKSsEsvIgwXorq/iNXZCgPlgFIIp0PgsFCrjeA/5cLfXzx9CiDjcLfL7Y9hufqxhyYUimqWYCaenFbEOet52ZX5Fpef2WXo2arRO19hsrs06aFYzqFerDiiiTsH9NTgH60YZI1l2/OUfojTQGF+7to1t6pn9eAVDDeHtwsPuMkKak0hBvp/mpXr0OyvhATBLpOWEItEhVIB0roY0jugS/pQEPSbM2He2gt0FLLGzp+wmInIRNVM/WKJQDWajO2Zsh1J+rWoqq/0EonE9EYG9w/QM6YWPfrnNQRqJPDcXO2EibhifuA2iILsNnm+QTTRDdrfAbPgrV6yuubrCg97maF7CEkRYHfWvDn+VuPiWFsAMyRd53iD5texJPccB0x4B7sIeS55AbZ4IiGJxlZUE2tB78Dsqf3P0vD/b5v/FVSGbGk3xnWyVzBJmSFUB5Cn82G8KHzVN/Ok3BuLgryiDgFYOAeGGabRUJ6ECViQXx2GLF3yx8UNwdf454ZgBQTGmNksv8P/ggIsXlQL/Hv5yuyJIaaHkTyIPuDQRKBWebmzs5HQlJIME2ZSffBq2Kc3hj3AM5TeGp5/M8D4ip6SqtE9n+K5NrFhaXUonuHVjp6KOdHbRmi4rmJ7mfzP1pN+ZhG7CZfrCelZJeA3Er4UOrkzkN0NXZorwepC3gAYy8/oERIUNoAoA9B5/ZCAP4ofxoHqlZxwSNm0d1snMrgS/2ScFeDTcLbatjFZOQ7QtEwA57XpOUXv8ozNGwsLOYNWTw0nHyravGCfPjoatNxsYZhVcroFS+RjSaICLZi8Yy5hU/bfHvLvEmIE8zv7FCo6pQoWp8xCGNJBKHlf5EZyCRMAuPggpD25w0nmBWpS3S7lCkqodGKdGfixcMbaUSpUTj/+O7blvjj7y+gt5YtDiH75V9XTT+ZIaeYvAxL/6KZJsBwVYi8j7ZHqda5IqbcklSLKUSb6qR1cjwx3dkA3uVJB/Z3LzbUbE3w2nBgUxj2ke+ntiM/ec7JBQePzG22GzenGLBuxwGdn9Gc0HQYZmcjtDMITtG8xRJDZWFll2ZWyEd+UGOefT+Ig2Z9BNpdtGMToWxuzBR9aM1/PioiORIAdll2U6QnMUDqD1QjIaTxnz+dCUO5rAlblBC4cto9oTvdW9z+Rf2CfzXbWHbNgUEN1hlYwjT4u7rRa0btzzLR37oLCAE2NZt3mfnQgtnFxMIXrw42M2DjjmS0UgCPAsEyVYpNB/RxlRP2XsM/H4lYrojbP4NQqqQIUqRQ25sKe/mUqgwc27MYA4BisXv52rfZ7VjSbPpM1d73367l1NUIs77W7oPezpf6guJecdWZh+rUJ3XwCkL+qaP3d76JOGgpuKgWI2nUudIszM1SC4Rw3QxIF2lRZnjduykReoped+W+yoLWbgU471kIBaBBnKPy/GehSvT58xann5h0k8a2S22sz/phWHFM/z/Ka0GGfJmbCzY6IgEHwsFxI6FzHWaNUrIAX7yRaVBOHa8+X7y8NTgSRK/IzJmsDpyCFYRDOyrJ7NatTVqiqdFAeHQLiUv32fmBX2AjaTtQ8aXzmAEh4MUq8DdZIUW9JC1odJNLwpDPu458wzB/D0gmfpCR2pkxG79tNRcIZ+GKZk90QQTU6YY/K8tL1B03KX1lnwhkFf2EkKfnd7mBRGeOhTe3f+rZXPWpMq+d+IJBkxz0jHgth+TqBQgq6ZswFIZFC2u91vasoCZe1Kp6/kLDBy9AKX+LmkqMIaDLtljncrODvBNFKOTRRceD7ZQ1OIeX7iY9QF9O0r16st749e73a0tvbdAyu693SuGbfxUcpjbslvBqIhSnj0yx7lrdc1pKiaabsSp1r2T6KbmcgOba7Rgsn8daVYabK0zR0rrOYgEtz9arqUVF0og/3yqsanZnMXJLqnbZCznfIy0LnGH1cTHCE9UcNFogC5PyWN3Qhw07paJpqxvMTdXsv6wAgajIWs0vvm/a+2a9/W6ICR2Edt7PgsAt5o1swPf7hPxE62M7Ys60Qd7eWipjQ8CvI7PIQouDzu0kx5/8Z9fhGdtpE0qpsapYowl5bGaBBDI4UcgrJj7B7ried8Iz503opTvpzf7P5JDtzZkiuI3+my3Uftc4Cto1IFzOXZVQMY2GtymnJjTO0dFDrYPEbTajWw23eB+1TZCEJsFVlNNAJtmeclh3KgxPtSWqGTUsY0rAMsDkPmudLJ5WA+OXlIUR12lIXfr68s1cQG9W7lAWSxttQdrAksOWf0MFbkANafrsTpXHUsv0xKwPRsd9/wLYWf8l4NuBzpO9yX2tS8VHcgtdqWIkDN41iaPWQXFIvAMoTJOLL/dkofEJZ+BSidN9LSGR9leMoU3XNtqS1dwgatZRhxJvpQdVuppVSrSKN5EIp8WHfVMalUlGWL0s8X+ZX9MWKyvPXNZNpHiqM62t5yL/qox1Holw3xCKokXSrmKDSxprlrfov5+JgSwKosgdVP/cSbMXQGoS1SZ25Evg0QtFz19ootJqOTohx/1qC51o6GKGnz0qJHXYdPaAw57Jxpcw1LcSIxjwXiqj0xpR4Kgzgp4ZaGDs3o+BCwhrcXnQcaOVwtUAENVBWQ1+kw5F2VcsmfVcxvBwzMC0TanZmwH3mDVA63o0dNhppuBjoAzHX65MhYG+2jxuV3oKqCUzLQEqRvvKK5MyLMmpPBGwYF43z9cwKjTNcOelwwgUFmPRn95xOr/0qHjtPRyjtFReV8BOMZxyct311ON0q2SP8E+GHSeFfepMt9LOqKThAa5YXzKXzv+MInyB/sIjS2F0bWEgZ8rxmqjOC9ml0dx0WVQe51YKTep5ywreSaWuL5+XDAQuuMSC642whPt6o1DzYsrRkIjGGc9PyYw/moTOMGMWorD00PlHdfw8/IvIFO8e7Oq655VBmrLm+AaIKJ0Dz8+dEHa2UFNAc0Lmy/zsY6WoiQjN5YsRRL43GI8thhe53bHNczcdkj/UVcM5NvU39mtrxfoY/nUIpW3m9t+Cn4RoqlknYck3nMCS/tyv8uGM58ZKAtYyS+vwW7TFCxDJquxtB3UbeaFbZLsq5VAESiSiS3KWSavifCbfUdVnGzOJzcSPx6greH0/KkAIHiXKenX5X3b4JR+2PjFBwuka/+Xw6jK6OUSYGrH8Pt87D6lwY06+T4UF1PKBieRfVsXHMLKW5FGAi5DQq7F6XSX8BoVeifi/RolVlnbHseMvERDXBNCBvm42VJomDxv/cu/3US6uurx78TpLeZ1Pj8WykpSVhmHdn8auOQPhP4QG+W7bBi7M5GcKD8YurEeqVKd8ox0cOLFptM6ZvgFUFvCgG/ExcBDKe9LAAy/+XBZaCzNhwkfBT1+n5ijJf2EmzeWaGmj57JbIGKirC//KnIFdcDiYBYbY2whWo8k+sIdVQGS7zFrJnURixPoPHVvTPsWsZhwj0/MEGKnDGFHSEE1xIKvP5DT8Ekvm3NaEJYBaCoBYoztyBKPYxcLxg7VRuAnPEvLWrMsj3rUIiN5Pwuz2kt49bCBq60h+1owcVOqPLsVA/OdAKoxMrBRw9QUqCfuiwMFCkZCWCtEQUh4os1o75XGVTY4gr+xzXOc4Qg07yq53WhadPolX14TNbwFTCKYZLQX35ZvK0BYcZmeSKkmQe+AIHQ9CvZVWqFWCsdKhW64luFAlzfUXj+5TCXGNmXh5ripjSzhvKnWy4bs4Lhl/SswkPIxz1EXn0GJ9jbiYUSf30w2Nc0/NVDiHrMg5Li9o06dcJM7oihJdjbSlzCEcHnbsadwHBqBH6kUYxCZUiZORAisFX73U/zAKufHVx8vO3u+GnWZ4YLNOXYOo6sDtI9cI943H+BDB2+M52hI7Sf4OP/vokWIr1dbyZcoKfIashoTyNk0buB8tPkyKLk6sPEyewYSjYO1/ju0PM7ZGQ0T9Ci7VXHHrTEtrWJ52B8AHvVj7/dajsXG0rDP/hcibXgjoaInJAZ5TIORBhwtTOywbcQxVS+n8euGpNf2mk8M8BBam1ne2HEdgxfkBb4rHXzQub83L0IRierHyxUmFRudaxyfhdY2qHXeTkauaGDUTc6aMgqPhPgKqbBFerGpH4p9eVxLQOJxOuY3P6YY7HDeXdjY3MLegS1c0Y8ohUkyeI3vqd1W5fDxLvkQ5pfo/cfcYBkG3dKLAgnxLQn4St5QVD2QskJrS91leNkN4IsVmT49+29+9bI9FDLdVbwZKQoUuWF6r2Fbzyu8xEWoR6PzDfBJdXfZAjaEh4BdBTW6W9gs3hPKGiVZI31vIv39ZwrV/5T/nhTJk8r2a4MpyYcV85YLQmFsEKW5/AkXEhWKT5S2A88gZQFbg+pFhk4FLWLgqWJedTHt8q/bT0kylmYxvLapOU5tbSrFzXyFGpUiNFQgoOiS3OnkTt4eNjMQvgtxuq5hyBB8xjg42xtB7kMijKLhwPreqwpJNoTkACN/yvQeEHMxCt0ElnP+peShwu7/Dh4LTJXDsolGDS6ICSw4d38v2tMRrjysxzFlRUjBoCNdm8RMhPhaoSwvfAcPtG7e2hF3Wgio0wHzsJqOYtYgH0sz/BKHpTFAk6hbVgNmmwyztfkUtDkL3q82W9nqN9Wm+vo/5vRuHE0D7bRFKdGPMuCIogVbCNp7KM8Hzy7yYrNt+eh1NqIBWymZya9S5UYoNHswZ/sqnI50MvpBs2QRhCqd6LE39ijKscBtc7LoyggOJPsPK8kwt+iE3K7qn3doiKYndb2VCu5UWhXriIJIBZLI9QigVFinHY62rGbUDf/aaCRYRFDk821e4UVy56aPSKLP3ebNkmhhrNowlQxm+ZvO7CDXMHPdZ9n6MW1wdDZmclLxg+2sNW+u+4O6Yw+l3xGiydsJjuOZptV7ZO/6T0gvXkiXsFgrs1QIhXu9KgXvs0negI2sYBvNio3CEnW7f0sG4P/6/K2jEMYpy7RKgUHc68Z54H+GPttKmerou2IrdAlh/D61zbDAtkKQnklNErBdPpd0LzPY5mZCjq2pB3+BGpfWn4TgMTw/1BYKiCufPWb8nywf4GvG0QwIeNn/jsrw0Miv3cPCiHtR3y0yQ2baIk7HPiFZk8oiqeD5+gr11sQz+9H+TdHK78c8gv01Dva9BnRkp+fvPZpMStLz9xPWqoZ53/dq0kBCDc+floJKRYQwPg37HxE4wYco5+NhSjEZyYdULCGhiuM3JnnhbjyGbX19ScQPTiFGbG0EtDN7LanrS6Luqx/lQTmgjUuxBZknqkk018SBtBSp+MfJDEaWv38lAjXJJ8+5OhqeMNYcnxdj+uiOzDAW1t26uqSWfzJ+i6fJc5+dGYPUmV8exfjZcegtB+n4wa0mU5P/xB7AXpoOdLvIiCQKyH8EAGgqxrPnvUjh+YstGzRnFjJ6C/nGcJxwv4iabwKi/BKccWuZyn1OjH2vhnqW89TrSfLPTD5ApCTmX/1T54/31Z/yuspQGQPfMLrMD9GyOGFoJhswvB9cIeCiWM47sT2twHbxmgULQPt8WnQguc9WQZn4zpCdeu8d7DBjIWZBgNHA1xDLuzaqiHt6Inh601+spWUMTLS0EKer/W9VhxBivigSURK6JGsR/wDXUnaB5T5TO+Q275omiMpDbNH9dc1+vAUskEU58W3euBmcXcGb/oMtAnnaXL9TVh8WyA8kf3bReVkkoQAKIMbP3qcCFEfh6GsgFHYpIn117DosXnYvK3FcGwURdTTRwIBzFTucboNOIa28aIRA3Q0YgIFXa8BMrSeKiTCfrdYX3ErWxJM+16xUZAfbCbocjyk0FWb98XuZLdHrp7Y5vgRl3hIAwemLH3Nf7gkgmQ5W584AWOOVKe+NvgRMunduFFLMCHZ7bw+vFNL78GP7DpK/U1Tcobu17VwJ6i3I2L6UZqTXcJdqu1DdsLIj3X5xXHdeQT9Tbij3TibgwCKUVH+H1ssxzUdUlKPQl5oBHjBvZmYoUL9tfE3eMVOliRP5XdoZa+/6/ElhkE42Wts1t2APBmJfNkTj8HE9DA5ZOEPlTanJE3loy8nsHtZ1DeW9QAqQDqnDAnQOTqAXBvKYmrl5Sn9IKweRtlwGo45FSBfLcGuUkNSDsyH3Z5VZOpYU8o/82xHCENoQQhAsh50vg/9UBRwPIJg4QQoNGklsdxFTBXpd037IHQudmc11LY9yHN/xacOS8K2LRy3QecbjlaCp/dU4NbhH/eKwP5taG7PjvVSApkCZO8pwbVH4owcUHG14xxgs/klzAsVK3YvAONXcWVtyxGMD2JKWioksC2LyUPOsZQUvRdihMkh+pdvP4BUeH+lKnW9VMYViJ9hjgn37AJqivvxoDzrbvolJFmN1b74NqxEVG5+JbetknwsPbIZoeh4ZBt6myaGQFVeRNUP0A5OQh1QnCtoGpzvAqfLU30+6SV8x+ccEhilbRUPtx2Vd8n2b9HkgmgyvjpZ6kjHyYrv71yJEjCEEZTHza3hwnlwoS9JGrYeWCQuTiNySbpIA/+4er95raavt4m4+rGhEAv7jXneJ6j6HAzq+pvx7B/uqIIAwn/7UluV3kYiwSawSaXOGCb+SZR2AmzPwPteF9u6WKiqND8LTRB3xcl4apctR++qm4z2ubo6UBUT9nI0tceFa9ciQaYQtW3coREZXUPTixfynpZDxzcY9+6+8NYl8RPtXx3tHjwK034xm2uG34fMEddbqAnlW8LA0ArTzDCUKJAqqq49DQHAgFZOxUfaM5H7ZermJMvwlA8kIhpijWXdNXyVhBToEddPwjR8uv3FbQKxQgXE0RMv3s0KiX2PLIT5RAIibfOypaqZxkhBS3VDZ4D3S7F3k0EafY89oLKGlAMj0Fx194ctbFfoODGNNJoFE8RAudc7jCOPpX6Nh+LiezIMmwpypwF242GBmFIbvNnWLUboS8sx0/yyD7G+7QtWf/1lFMXFdlqL6zysjmtnDb7FqL70TxHRVHK7hk3veThcWw2GmqqytfzU0RQNwhImEwY6bcM8U3846RtBb2v8pv6B6yRhLc0U96bwCW9CpwfW4uSrWNmkO/Y5dFmpEBS4P6j9HpyJbL0VGo1w7L+S+DscVEWKJCBm4NGYQA5Iz0PtPQ1Lz9x5rWgsZLQOcPvICuQeRQHXczaQmJbIRPYRq9RLfVB3xzBf7E773LBVp6fXRnLRzNazWcLPG/+6SBv/wDz3GX0JxgTqDGbdCvG4FOV+Zfo1VhvW2Mp9SzdsYF31dJZwsD4CcF4B8RkntWAqNsNOdm3VRwjvuAeUMInZGkDpQkc0/DschU2M53fqNWb5pVsFt4GN7eeMZM+MnvXU9sPjp9FYM11WZ+4/+WqPBndUKVZFQI4hiKqk9jEGmLODuKYOxvqQ+foeDRgSvG3P3wMKfRC7I8gXl6CFC0seudTL5DARsTr3NDtNpU24dOCt5VquKgje8PbiBPpJzZczKwMqsqqxvR82nLABvXrcgaTOo5Mg4xDgKPfbIQwtVae7MLY/p6oLJ5PGtFUngXerHyVALtgA1NKvyDz0p17HPVyhQuRfRKGPHSDbQbRYRKWwOKujwBvGSQg/YNdAOx9i5FEcH0BQVQmfLmmqSqSW1EpUUZHxW1Y2viuez9Eh9uWtk5zoo2xSqLjQVSx0RNSaJSt2m2/5X7PQ84QVDuENa7txVDYWEzBoW+wsevnIA60GcEKS/MKTCeLRk55BeewOJ5hTK06aaWP2Q1SZkKsHS+eItTdMAVqt6IiVbYl3g4xusr7yymV0qZWmjE8FNt91d8vnH5KtC+IBrIwsfLbGouWN+OW8spVf3f9E6z33JCc365BIoWdHZUSa4eNrmooBstV2DT7hqTHpf6MnveLzZegdFICFgo6U7g5A3DTVopy2t17YqUOLXpbrL4UCRTvpPAoonWwvHxvYUqDPYII2iHxjrDJcvtKgCcMNpiwknH+Hv8alfn45T7lsgjK9cYSJ9vlYpO4P9kc6faXngm3Peu3JeddBBf6ePXR+YERiF3qISnDcZpOBJNcTlNav62oyHyLxJMiW3E92SJ9s4D679a34Yu3AfKGATV9ncA1I2rIdD0s3tZ5/HtOX0vEcqe8uXotZ+oYB5rv0ljpNXyPlbuZbg6m65oeDW4eP4LtholcwgBSL+Au8tYjF8ZTZXVo3lXsVd3XiOREvWpJHUypJb5oXwVeRqlEdNX4qE/0q6szQjdTwPbv1Baml3z9s1Fd6pqFIyjB8D5hJ/rQ/nXTmR0yothlA03l4d6BylNKEjL8znGCvD2L/kc+ko21HCu8Z0CsHODSPc2/jAaxgdtPMjmG+rXMnq7ifaxaIflMMLhLWwNd7v7l7NNxEbhtEzAbPWWFGv9FqsTteH7p8NKC32KP7R6wBtCt5eN0D/KaXIczSr+aTLRTtnPwDyoZLA48xzZ1YSn/7s0xmwNz/RCIejlEDduBjbN5Rf6ex4WqXTdlSF87hT2mSxGPJPPRPvXcGtgtvDkb/hjz954JqwvXQt/UY5pYnp2tBmc07OqY5EIZw0ulWG9pCvsZ1ZfraF6M8ongQTsyQWBlu9lAdMrABCDQ5W+Vua5wM/Z13ltJNihFrpshkJhDs4JzYaZ5ZmI8GL1uDeU+YWCvkyWDpootsdoBMBiC5H77KL1ax6sIxDDxLfOkiKaA3Gcar5MuveJGdM/D1w2uSSPzkMJUMV6hCamEocY1czTgkbFcZj4XmjO4sD5bzGfC7pIHDmonEvAf/OQTFLkvBeDSezoMe6Vo7MEm3OfFgTLuRymiyLm3yHM0TS5ik0KlpQOr4lIPrM8sWfpCT1kKx+IvV76F45zPoxhL/h58hm0OE06fFY6Ul4tn7IVT3YbsYStx5OaN0fadFEKDRrWdIkFMZUwgWVZdGH2ZFQsYkfUs38Ad/fJcV5DSqfdivcsauXAKfFiah9AezdUAxvO1SHBX8zhmJN35nMTUwz4kGgk7xkqskipdsc9Kaw5Sgs5MBOTK17fWbGbgXjEdx5Y3Fo4EhNdh+Xv9capLRyB8IGtMSQ4tYZRX6ksWyPYeFW03/8nCQ4EOwazPrlYxQkD6HNR8m8eEtnBGg6+VqOzHar+F5RSwoyK6F8bNEHp2OiSj8oPXqomZ8bx+7vfzOqFT9V0qWKyuO5slkb1Ezr/kH3JOAkcdrl4oG1ffkFRoozj6MrXFTj+HYEprrHKokqrPTDdBZfTLBtv2e5UM609z6J0JGeu8GTLHL6Zs/Q6n1+m5glrgjhpUlcqS8DGai8UwXXCtoC3OYAolGdkYxWECGX4RNYCfpASCW/p6LTRR+PPv7pURiPbQu0qYI0QXKoYR33NpbpAPTQcuceyccI6gvZVZMYgtvgbWNgO8NEFUp8N9FfiGjX0Z6MnNwNIdr9UFGpjhtdW3bQDVoI5mEgMNywluT/U4ghID4t0+XUwMpc+RdmK8L/y93LpRsKxUIIT6Q8rzHvqHVddFbwzg+YIynz6GGbUyL28FrI17OjkOyGjKU+Cd/vlvXUNZjFd0lWsX9XBcRT8SMpaS9+FBrGjdjd3AUNvKRg0nDtcNeAdqN+N4cQg+0C0lujtCJ1ydIpeR9XWlPR42i+NWYP1hJhGz04+l4bGv7R0C9qpdbV8GdJy/uDminZQj0mYufmiNjdpo/mUrePT1Qh9I1nWpck8R5MAHSiRvGjcpDKGg84j7tvD4GfFC7kwNBRoj8aA7uwYaH7X2vL3kdh4xw5EGJ5q6ucshTKa2zTMVrB4DcPrIIGfs33lOLd2wXNNr5i6DSclrIMN3E97PDhe5+WBLU/9MBQowZfotb9qu49KU4SViIpKT7DhFRahgMIptuTkWmnfNfGvAFGNf8dvvzxsRuU0tfiuMK05mXGBceKWFjf44466R2Fp+4py53zVaiB1r6CKNdqlIDnTmvP8ogtK6jbj787AxDd5wqdZkXY/HicSKRnov3fRYe9lh0BlW4lgAqKt3bbYD8iCiKRb3loSpoqGjIWEiJLMxKBHPRUH2g6+JIIbFzc+VDzAZJbruHcyAZfQ9Jczg4wt36xM69K129mKP6BGKp90BWbdypEW+AjVcUZFOTOUxKqeAtkC/zj6911JyrN/hnH3ehQz0G90ttr2b1aROR5o7+aIxPhoUDPi+D4GEarL9XdvCatEWkRrTYPKXZOIEYFbt4WeK+eGNZ7hv8mffQAlkU5bcFgKfxVEslYBsoOtrUZ/zmb8PCrLHCp0j+Ob9e25ysXO7+fA8HUXb984q73mh25MMAMjtp1l3YBEwrSkBZd4CI76AtYw1n3r7vxd7QiXSZXfvhdw4zYO/NbNWwCbG+1/8CZqDcF/J0fWqT2+KkyskuKsiOXtjF3UKchXb6YG8saB5puHVJp/dLash5LeMEe1olYdtq7V6dOXKv/rCRvauzEkP31vawI8b7a9+5qWLtrFUQu6T5NIIdd/IQgLUJgI/C3SZsTeGgCjdMAdWmWeWc6RWR2XfUEcev+GBHZ7ME8rmRrs8ls1ULDx81KZ6AIVH8AbHAVwc31SVpzmVB/k0ScH0nux+Y3DTcDDLi7xrN98Pk5qtTII5PJNHoKzLzyk33+kDKWUK2OoN9a7tB+0s76zHawfrM8Asws5qPnpXXfQ4SEGIPNo1oqwhzBH6aZaa25iq74pHuj/0Dbk4RqgG36QQNvo9xZ/JM7IgHPHBPX+yYW6svWfXqfVlOPBh3TxrLihUc8KLqAkjlRsyUpF9xcSNxdsdVyqs03bopuEKgtM2vjpBhScOZ0JxMwdcoZKdH7pFJzMmZ5gvrPPAd6H+MQelY6YL5SumhvivxsXJKifHgXNUuEpiBt5hC632Edxl/cIlVGlXSe5CLUVmcHDgFyr2tSY2DAKCtopuktk7ceQKBrlAL38yS+JiaCtWjlPyWHxE61IUcChIwm8Kujs2z9maXtcK2ZBEdBCz+HovRBDSOuH7EcUJD0s9jojINRmfme2AG5IJTM2ZkV9Q15AXNE3kwCKIZ/7hPKgFtHkHJuc5SRzElWcUG7ZhzTJPueGZ+cx43zZ7BNeOa/mGGNM8FCm9rYspNCGsHdr2RYvtFjafhT6/5M2xHN/5YWtvNfykAXCNhJj+XeksO6N6OWwplkbkBNDSfVUPAA6FG1Jpngf8gNyexG0oXrpYEYR81xppZz00pu4B68n9FsNx2MEj+BVKkXPn1sdqedZQj3UBftPI81Sy6GwnNcDBKxoVzR/DnS87jCWPJJR7WXsPmlLh92fML4SA0gieHW7vsJfFuX3EqPySuv3mdB7CQKI2vW1vsLrr1czxUCsekANTiwp2RFG/OoM7NePO4I3o+OWnO8u9c/cRxF55ij5Bf8nN6hbYoXiConux/o91taAzmstbihwH3jOisdGkVw4/eO+6/H+eJJRDq6AZvT4PNml3o3bNp4cDGkR/0TcAgm9hSXGkEX0MmoybG5j50dtYf95tqsaD49t/S9K0oQvxqOu/7cRCAcANj20e+/NGg5ioj3BYazjzt3WB3ZC2C6/n7wMRluGEoRqNx1v0pSfT780bcZZuVUYL0mcaXueMOOgf5tTLsUPuH15e2yiAc/aKTIPYOB8zw1tTUyB/sGm9U75F3mlsODaGPK3hbc67Jo6GRtdvrnTz1utBqGv80n5KqReCBEq8tJXoVpQHulrt4CIEJ5tPVwhwZhHKweB7Itp1vQFIJDmNdIxMkjqmBWBKKv3mkUfpwj7hRsxG/cosT9bHU4dFIVgxOQxCk4/5XlcTnbhdWY2OTyjGSPcMAJ2RJYj943ocBflZDgSrBoy9NGKTFwtiGyA4puMv+AwFNOdYwcZVHxgauhuCi9i0qAqZzi7UCO9EHkNu2XcJGldAZSEToXJnIVMSgpRxrEs/AbyTjx8whJtMvkKyW04kmBQqJaLJpDdU9ItvAZhUz90qIB5l0+I+bRuW+4fcLRs+Q247XTzRe8wh+PF9zvM32VQerZA4gCHJdlBFFJE4wD9W+ZCWYpqKn12H7+gloMkFOaCvm9hTkG7kI4sM3mhcoemtBa87yTzU0NN9CpvdnZAQD8aT83gzknXr/67pNQNLDgiJZvZV79YDlvXdveTzkV5TYilA6GVtUZiVpMhPUokMJX4fnUiA0zoJ9N6q3bP3UllRrq1R27gTRga1oR7VvBCVyq70SzrpZxVnfWIn1UEX7uu4RHuKoZmlnCcTmlosOxSTQKYYigo5O9R+kUSAn0BEKRfV94ID654RPVm3jEsrCR6PTNtJET9oWc1pVePfBYMk52dCtKyZaR99JhLkz5RCa0qt+371aYKsNydCVcgGX8qA2J+J69e9MoHcyrXDYwUyv9GtS8xv9PuKjhYLCPaM1G4diJ6bbhXEpZDVTLSAyi/ds3PyjZlNqRY9H4HpYiUPTGIt5XDMtnr26g0dGngJ54V4Y79Qut1WrOLsRuMx8RX8JQN8f3TZCObDn3nOmdz0Ov2cjBprhOnI0G9DPMwMdNBaAShzyYOj5K3VjA+pSkxJTMtfnPQcNHyTzEekbK7EkpH3GMcDldIN+eusNOR4nqt5v+VmC7+NMFsuz+xpLOIa06sRhPTy2FX0HXu1bPjlsAua3SEYFTrxdo+qyMbQUJzxMU1xcxYj1cGFScugTF5Gjp5INpVYZRrAIFaLwJP0TWiJfQLZZM7b9/ztPUyMjyD4QgapcKDmKyBQygSFBhcErbyoATNyLJZLiI/rWpH/eqGZ5U91A4Khx+R8GZDcnY5rl4fJ9wpiracv3s0OMD8HFf8g7ULtm43M3tyahe9Iu3xS9BgCxDKUVUMsEifKVguBezlVcSFxIABEfhfHbsmi3bQtdqXQY1mnktt2bA1OMLL9V4+vGRNm4Unzwj+cMhr37+qL1cRMAU8OhrlgwtrO947Px9AXqr+oXb2pO5uQ8XBv3ogUbjRWPCLLXCwOYDb+l1+9z4XkeyD46VWmBlQdvAmctCKwB8VRBqnqTUMyUKYatXpAFq5mF30BGIPaS367HcHt0yhrRXr6uoTBywip7m6GGUEDspfGqU7oM6AtzhD6FVnH/Q2Fu/FHz05V3GCX7jF+6J9Mj5BGdTFqqdkZ98zk6gnI3Gni5bqeeHR3ObrjDoXykzi/uzr4gzZQqhDHLAEvIG5mydmz4Ewm8UP+m9ReD9BM/3oTbYCCe98GQzi3iTh43CB3bP+ufpHBkAgJpSpiX8LbzoOXCGSiPspYpYgQ7cbfYt8MquKgmH+5mlHyLLqqyIdBQnn8JitMooJwyzTt+9TQFbmyi8YrZ3J11p8ZzP3w1aWiNRIhyU4z/Otz9XRDbBW3FXS0h6qj8iEQWeRizeyRpTbBXQ5urR0ZFDACc32lr+dnixhQ2ZgHmrbJJkPgjyoZNubiBlaMDzj63c0ZhTxnYVzzF8+8XxEujcxnMOEIwPrj7/6CwBwDehyJ2N0GUVosaV4XH7sparYBdtT2TACR0SxWAfoYq9oPFHaIMe4rcLn8NBelrgVmp34+W06FN5DuVqZTpKwPOqYCGSPYUH2eFlxt7gYFFEWf8VY/w3lFKaVAEFc8GHjKOkaauMwQnQuMxpA2Bwp4NlAnRCzW3K6ywe5b/8aPdd9TgjR27LKFxTFc+Clt1/JSyCYaCAXypNffAQYgMlz3DyM5pK6gvF0K5eG8tIi/DLBiChk1nnQ6yVkOtyM/K/0CCr+1bLZn23jHPhGoVej+m93ToRC8gpfDvU4keJ6m4g/FSGTCPsgTy03ApiNTOv2GKqDb705BJsTFKvIALRZTc6yP6SGRbslaxMebHfNtXTfVDzDPDo11Bh2WHbG/WclBjCLqPD4Qzkdy7jlRmJqHtlIxXGb6CF+P4OR2ht9P+DwCfHRvzfylBFRSMwdluzIy8DnE8t9brmoi1tCD6kNy2xfvtTkv0+bTSr0qYUHTE94W0Ln1ZqYR/esZw4Vbl4ClgmST3phQEh+ApEyRg1xHXyqnMXs7uu3vR9EXn2ijK8B0VjuB5SYC5B7TbJgjSkWXo/07QTDmNgO2v9gTRhiXFC+aiFiYdTZIo9JZ5FheX5Vfp0pbLGNFP0HF4SMgT6nojULA89BQjP+rOgRqlmeyjboEkZmNE7CiAXNjY20ir2xoI36w3MGLOpM76U6TvTf1+ghML9zA6V9nyZIxnETjm6Mw8c2EC2lTT0VQxBCy2UysYdk/gPGW4DcMGNbj6Mbie+6jkXAJ8FY3PkfAniFhwiTQ/8/gWU7juIasbxirFJy79mOMRJ/lJVHICnz/KAv5AQKGajH5rh+AfdwenO9WcjvoRYUEKjZj2i9OM0JSSRp+d5XKt5MwGndnYos9vB3Ekp+FsrsPUdM1oVSl0C6GE74ZsYAgi0pKJ11ojUnYlTZ6vbSVZd43VSYbezankti2ETgJxxeyPC4+G/L6M6uIA1x+S7TnPf/DkxwTuBt3iBgK04wSXbizYL6s5G6bN6lIEI7qOcCOFspHIbcbYR5LjYMOWZ6cyQx34eMNcUszMI5Hcxev8XPo3JIBxHE5l2pQ18hDteGM9a4Shebk0B7k15fuwQffS3+PlegMJrSfKZIlhrlfBF87ezmgWWC/tjd561+9OIpS7m71nr0NqwV3rK3sgtxsJm1f1ixMliYyNqWWc6b62owV9eXlkMNLr9ABunaFmWsbAOjUZH3q5fjE1wK4co9Ryea3YXNvodpCLq971PD9g2myYj4Orh9lSMWatVgs614uW6sbbU2xsTdu+mIk5wSyfhlvvD46cHYtX7oPoiBW7JNl5ptfQ66sIc1pO0aPCBoclgAc0TMLPIfK8VzqMHTGNNhGodq/VOM6shIKP9UmQJyhPQofoOfQXws+FnTXE5MKohw0CLe8wQ4yk61L9tUUZerhxHD4rCG0V7NKPnPd9cpOnmrW287dcoHFJU8LmDIEECjbJrUFhJzpjuuDrsv/IKdsdzp5dw3OkPhlWgZVC7uIEZL5rsSssfWxd1U8ZQOdL+dWCyZ13RleXuivyhyaSomFHbUuZU8Hr9UAZ0EaGR3ttwEczY1+mJZkzjgjgFfCsUijaJYtx3kEyBgrLP4JiJFhZem0F6Vgp3qMt9OuymyQhR0p8AlpRkXrA7WlfReiuHi7FcP+WejemqQrGcEM+3V/redD71A90jGpGsxF2+7VQgi66XkklI7OZP9JH63r4RCnCU5/yKnof9bOofsy3SO/dz2kO44LFUxDJ45ofZqVD23YZczAzzmylOePm66IqPP3ZjrZGHW5f3NPtGDvvc9HMWSVqJPNn8LDcnuhcjsj3Nx/jzhUOGm1O83TetG+dLmCy+2e/Tu2zM3aqy2Msr7TigesIFH8wiPWJ4W1LewN1JHE8t6hdcfSJmSSXw0D4kwOKKcdUqqHpMJ+kRfJnJxUaDZ986zHsPI8q70Zl77Z3wiQ5CK1g2XvWM+j9cRzE1cDssdFDCzr79n5AA/UPg5EyDN49T7JxTKjovdJXA21XTyqt35t1bAmOM4J7G0YuQtuOd+wPVVvtdOpVA+wQ6XT/pjcIaF4x51cCOrecBTwczzc7J7zqaEQV16GRU+L02E2ydosesHnLv0kWTSqZQWakMVYD3OmxtIJoVoXwv4hC21+s8TjeAvtzZo9eUml7t8Tv6kqejnBh5ObawMGu9qIMnQmqAWWIazQZXmwOIOtvr2xWT73grZ4FOsy1iH3T3yLnxVSZ9Qz5I97VbMmWExgfKDnzNt/xBQbq4mfj0IVZG1apAjehINOKcaaIOQnE3U4Y4O5jLabbLIFsDf7rjwXkZtq3lOGluB9rNHP/qQo4Po6Mmw8Bv5t0Cfo53E4t6+yaklNykPlURbWSBc/DZhNUzon/t8GQztR/rknw2HiWHC2CnKuMdkfPfEujD/MseCk7gm4zXb2OcVMRycz/S5P9ACaOEbQ0t7FE4UxNu3bctFypyyP92hBOgO66NQ1R/8vCHvMy2V/xEXqioH78c4am09T2A9rFjRupSk6vldSSU+72Baf8y3C1/eWHLlGi+yUXzM4RSs5mJn+l8sYro0Tvh2A1J9r2hrKTeDtMC4kZzQKxTZgKkLw3ISq6O6iEyKOA82sId6p8Zy1jBuVdS8ii0kvQh1Ne0PryXJzgN4W997wDYnueYA22y7BdFgResqxefb/+ivTwlyDSDJE30tz2/js0uq2KLIAkqVlsC1wMiuZaM2moEG03BQB8+y9079QbdbDocAPjESotdNNnx2ceRwwyqTo/nZRLZPXzYS9WxM885sSbmxpycyGRWfrurItQX5f/98rkgAhTx8N6ZFlZuas1eD0kx55tuFcoSF2zfKz6vI/oeDHnQ24Tddqf88JkRM3n2K7t6t0Dhp0awTRawtqIQUGc+OtcfNCkTGJ954OKj6F7zaHwwc5kNFwS/9jzSxa3MBnGoPIBxgBEGhSyYyRmM741/4lrSkKyGkpYhg7DMq55OTPj879cXclgsrM3eGNEka0ZH3RD+KJvEwL29/WjuI1OaiPuWb2Gc6I02bK3nW6V8Fc/KQ1SizM75aM2hbl4q6FrWymBc7wlHkSRiIfkZ/cbsdfrtryJ+CkAMM7JmA1DDHnAuhRA/HzNBtwc0eU/UG75/um+MiONu0pC2JvSVSjNVvFvDuxniuT6zQaQEN5I5wGYsG2GhpprEPzNXp0GYHHp7TtOdt6xlv3fs8fPKlwRCAv6c3d+SUoybeLXq342mla+EOWFQMVZf6RHyh/a1sGX9lka2azf3bYU/GDDdaqV9kSe1/2QKdYHeV+pc7VR/NSpkZOtVKwNSt5AT8JqmVyTp2zr/Z0cubmSLEhWXfhca71GigsQGyhuX4LbSO/uC0JQKwc3dUY/tHpJUJs/JsZIUED0vhrIYxowqltAnm94pb+X+pHXpMxmkbBqFccNcSwotGccCal4mnHrS/OyUihSHPXx/j3h05GKPgsbpFPXF2JVOErnBgQ/xjkLyMJT5j4vfntoYtjESPUVWSLdHzrWBDislS74GPA4QEgtCCd4sySxuEBmIerX97K+htIH/yLMfwa2Wj2z2Wt/ABTU6aUijUZehsqTXV4WEP6aE2TzDJm22EiZMqqE1SSYwY9G068O2jGTgv9ZHVQttw+2CyuTOL/coWFTXUv8mC1osH9KrOIbs91JitlCkXVYk9uDGTvI7ks/jsjYTLg/tdQ61Gl4QRQBGzEaHbJ+rSyZTorJtJVFuk0uTLjmAnwjT/OWhkOvs3NoaQ+nKGbwDzI3FmEK4t/7UTeVrFBNr9u311jHoPK943AVJaY5l/3gNyaNxcM1J0SqWx8riglss9+f4d2zDnE496lmKet2R5r8a+hoxMJ/lv7lFvWzGemAiD3pKvPkzmS5W4ZpB4Fp/K6WMj8LnwH20pZYT4kTNLsOg4f1qggtRNzJG52tJKFrY3sjhH9WjQbU0Pve0APyoYfrICu6X/bTRliptBleGxyTzrRXktUKIUyCXzko6a1PHRowvOjBsi5jQOnX2+WwxiRHhuko1QsKt7ObX7U4XjiArJkHQBWqSBXZ1QSmfPWQqhKAR3yaOg4HSYSVg6IdZxINLBc1jYGIRU6htQDxJzD444IIIRJyJo890srFDb84epbo/2l9sEB54+/NqGy737U+WjyiQ7T5Tw+8QZfwVHBbHfbVx5Tzgb+pMC3Y4wHokUhv6HdaPfiCk4P3xZoufjvsdm8KFNKN4BFCErbEQjD0qcEFIezTQ71QEZc4YY8mfwoGXOkg9TANnzA7zCzvABPPAWFNtTW3QJ20X2bZcbDNSu3FQ1Fx8EIovM1qjaANABs7HvcBn4KctGDEcd1oWao12F5KhYhvI7QftBoIosUzPLslRx1zgcs6B6k3V9a8q2UlJnqMclPmQM8rfl40kaL6lCclbgtGZ3aNYORBoNB3ikGdvzX2MpieWfOVOVz661SzxVq9FPOmqmH6Cp0Xr0sTvUqUEn8z6UbqB1iyUE317dyqKUOXbYFfT84eH7zrWV8LZMkvvTaH7sN2RB97MA6NxFhWgKK6iatqB9Ux4UvZWtPYZGeaUQyiWDu4leWoGTNinUvFMSfAa4NitR4OYemywJTiNktzbFZBGFamgiyqR9K8Od/fsro9kcxXVhh7y8mt0r7qHqN3Fm8uaBr8oCb1wjywyHjKusMJfPAOld0NP/umuXPdmR4Xm6US+tr5Mpt1VLVmXmy9zQbe2omFQZXM1FtQqBonxhJVeA1WfmSbRekx9lnvdewaRCPX0tdOi+jEdC8CLn51CQ3193PQtyE7StGyKUKmdioVrby8fTMThPLH9bK6gq2Ep+TT1CVyFn6ry9WKHsLbXeXszaSB/3adZJnv4Zh0xBrvBL1O4YgIiOXaV+WFNdSpWx6ABcjj5cfKsc09gQiPj2jXEtZUF4bvbr9DIL2whcJ87uvPL1MvOX4K9HcJt7SwIzMLHEwNyDw647eM81P8+AQshN+kgwabJRp37qpXs47+wn7Q5efndLn2O0o746Qz+w4TlzAqa0/d29YhGT5E/6U0tYMjoPhFsmQZ/Pvownwn1/Btm9CMDmujTwm8gwWIRhoX3oUew9+R0I2KI+VkGgVIs3FgxLrqEAj1+UVEPWXo3Hp71pVt83RagyFX4cgAmqWcDoqJdBvgqFVIl1PFtNFkU3o3ZCscPQ764/bv6PytOIyuOTHUmyfBCZuTNlJCLcjeCusTcydP0WvwpKcEPKGrNDm951xxMGT5H0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qvOBKKDS0pQGTOkQwwsfvbEqTueO2iY67NbFEWmTh1cLvc0AZXaj/otsj0duoaWX1XtLuvAaFNnZk65zZhBgIu8Szc3YEX+H/u7x3z+Z/EgFUunWMeFyc5mrkj2w87+JC0g4szCEa/HMs9ISlMbHtxIAw15RCtnDaEc0GRBXsV4thHhKZobW07lRggrJdOfOAyyNYIx41F20ZouQM6x1v/hWDFgEu7XYsQ9q5B6utEm1j3eLPyxwD7n/aMSV9mnjZMO3SiIRRwVDBQ+hvwEUDlXjzrEzRZzBT7tVn+f0yrxAS10GV8xZun00+HpSaaxfNtqcrvgQgkbp1JBA8WYWUQMliJOEXYPeCYdzAKNfOB3Hwf0XgEy+AGOsTPMkRJ10UYTph7uAP+mzQvgHD9euJD6/OKuVnRdeEYxrd++hDodGou+siwnxyLP9i/hSHhexESRB5F91Gp0QYs3IYHob33myGn0uj3tHIXigy/jqX+MEl7CuSZ8GDSt322uOOLeAPaWqxfS3kR6FdqxuMo7o5/v+YEqvknXS+vHZUBwvu6ociNm1ljznMMpdelElWTdQIHi7E5Ure4qHVOCL4wl/ry8Fxmk7UCLCcZCY1Rfl9SF1EPLkACYer8RKNwOwRtakGK2UenUlbeFavjaKI+vJTr/3XiC+iVj00g3Msf/zr3MqLaRIw6SP77GBttJyJyGK6oz3lKCmqAmS3H4iCF4ktStMhKmVD6r3gLPXjOt6nHAIMQ9q7YUd5q5RFoB4HAHmzVK90nBCXkqU4VJtohHp8dnbGXobXk+KTm0ux8W3EicrsK4vnU69CbcwdQfMaXByLWMf4qqZc40vNKbtGvS7TcMsZDeacon+ykTpl88B5/NGWYcdaHhuvM8K2ghmqkrxe6USdHcuIvjgAXoHQdCUCOiKknBjC0BvTB7XSKqT0/FEjvzBCnyak9C4+yqN95ndCx0WiOHoctjIrQ4gqYkmwUK4eIx6PY/7lgFctLdcEdYeJJeV/Cc8WQLgaInjsXF8a3gM0zYQCqXvTaXFUx4J2r+HAEavsrO5qavnx2csKBntI6wYULTbySQHQ8DkZdZDbUm6UA0HlHskjCGIGi6nDgal0G2JXohxj3zNU2ad8A1OMQ08NQzE1QrDAWyfrT2RUtlLWRp/dxbJxcJPoJbMBu6Pu/de0LNiz7GocMba6r8haV6Y+R+rirILg1IzpklQHyVJB+/NTe9T22A8cB42P2IXAfrBAFClh9FroQaL/gnbR9yu+5MZsD5WDscpZCf3fQayd56u2nEV+ul3hnXUSx9zHfNjxDUwuCUsxxcdAsFMTXjYR7IipQEu4hLS+iZ2oLjpoWtHRD5Em5kECtgRnWtbCDWCWAUW+VRuP+yBbaKzeXCIhdjn+zBcgEbHSPe3s2QCdUJjaw393Eto+EH1Kldf5VVnl4YXyE2by5PHFTJyqUnmT/QzMGP7z+8ZH1D4qHEaRI3nubRi97+7BaC7D8rzNycVBEdNp4ysHLIFuNfDGMxWoFNbOPfyVIqdJwgOBy7TaDQs49YPI8Y2i7onbftE/+nzc4SISGfLLAeoQoyas/KsMfkRMAhzRg7Ng8kRykx9MAMJnjAuFAiaJbeW4nuBe1oa5PZCRR7OxPMHPj2nkXtzro28hvjF70Je/VCQQUp/vKlzEsBmfvlpFeqNuOqmQ/kMTOAxxe7q4zf/kRdsVxelFB5dh8si3grDFncPkLcryM5sWpl8YHI89Yvjp6r7rMobsFmN8t3T5vanJdJht61K9fWZc41MPqJqG4ULX9glRlcOuWdeGzYFVUaAu5ClY6OeJ64batdOd/KnqI4W37Qn6J4nnO/qoPzTEqnQagpP96ZMYpsonsKVXR6DEvghgaQlcTyRi4Z9U0n7LzyQGylQuyRqF3FTwypS2uwRCxM31NRogZ3r2HbbxZ74iCw0zFtxuEIAIgKzdYKR2qVqin9DnK9FPYi+CJ4toPm5Gt80sgzQd7azRR4mjC7r4+q31F4woF7lV7OztQeV+UAZkYpIKlPjqEUryAn8dY92tdpCZye+vxzYOGO6GKXyoNk1i9YVEsXORfnadDqpcSttCsiv4Zfmk9QOOA2CfHbf8v2/BwFlV7ll6yZ5Rk5T5CC6m8E2qGMMY8j20u3ISLfXAjMl3h2ll1+hcju5f9rRCr/dVKHfaltlnGakBaRXfv+GxidfTwoHpLuSI9/2Dwh4xORnR119vGHL03v6H5uoeJGzl2yirpCDSBNKrifLOJCc1i4qOm4olnlHM40yU4Q3JbsbFL2BnwkPM9vD4y3sAg4BbWVpenLXfFdRx4yaTccRPnvpjbNnrwVipYemRCKfSzH5WIvF6t6+cFyeyci83JpOM7WZyJ5Z3zWmElFYlMew1+FTkeq3H2h0/GDEoW2zZy3NouKv5BB3u/hE8vpLTBGAn8Wlh5azwWXH4z6XdezgEa9XIigcMV0pm86D6YzuKPaQo7DfMtqxm8tzMTQrTYyw4BeMzk4IB4LqeIuzCscyWQ5N8xQKFZgDrnlLqcq3S8QG3T25dp2h8V2boU5Wxy6aG3FTGDpNouw48AsDofwZJxvI0UmsWDYX7wgLDiO4F+tGiOIxRTRbMybAU5HD6iCJCpzJitUskMKfweG0HpCQ8GvlFjL05JXhM0w20Ltwz0cNYKesfYhLovMfihQgJUcjnsc3EYiPIzEl2cOPja9hq+kHXM0riFxNSr0wJDTZH8vzO1KRJJMjD5ZAAhaRpZLFfdQGKJh4skj/29yuD4zmP7hJ8fJiQSJgFQPIey1/qdGkf/GDymHvjgWCpoCdaXImhs5ZNEqhLAKRsUav5ah1Cd7ZxdxPg85vJQEhkVAE7cQRaqdqVDpjQb/cbiAzOzVLNEI84VEqGUNcsoucEBWtqJWWpKGTavo3+8/UlX3gGG/v1IQbn684XsRhky57gMQp9aQyKViTVu5C7yYv95ym3kz9QVvmOyONzuZmBPsR+p775ptHDFGIk80XTYKrm4p4pl/96D9IWIbiRKAUZf3oTLuAgahLT6YNPs08vvp2Ydt1sCVFrO/MpRcZPfLi6712agBBY7gUwHlYuq61EdjEvUXOWugRnqfs4UHC64gT8k04sE6dA7Z9lkHcNO03X6lOJWimAxmFQZTBac+Inb0CwkzqStljFr73SN7Ayyma4JVcioM0Wv3llXyw198ZpGUZutgmlm9mK2VPu+ra+18+gUb9t62u2TbpTIXmbWgkkU72rcN+qyJxbSfP+8Ze7jPLjDEfblTSsCawxmGTkaRdAsmssxI7i1mgFQqUkhtbo7MJeHbDk2rycTcSLWyI6KMSGLP/apqOjhvZCXt4Nty28LnwhDsUHSnMJdWTCMjHEH/VqR55llJGtespSjkbjzUZatTqMk2vXwlQpEZUg+9pivMy2HrHlwm4wbZQZPO5zq6xKkg50xG5S9T1V5QCXunkHrFSyhz4aaVLMXXuCofU6bDC9+O3vTkQaodCjU5tK1bD+FNvMcZgnEARiZc7H2E/iaUhKLzantdZgXjTTNh/v4ZW34CXV9OSyW4RWlo+mNDtkGIWtnAXorgOKDVviBgO3cvYMt3UtlpNmV/Gsd1zXOQgZ10tIT5XxdbLwdRzo9Y5fVXrCMFy06pifZ0JUlyNfCp+bYNng/zrzRPELzQ4jHp7YW3kTgM+JDBEvfxYFdjnPk15y2iPFNQV9DzqsQXPQCp0f9p/VAyOoeDhtJCU1KYzftSRs82k7UD9ibPO+vJqxpf73svbBNkr8QNb6mWz16XnbkoEToGXkK1u/I19/8MfTgCOk9fvIqwEsVuJyyAQB3Wy3jdZY/rNJPU7gVEwpoAXdQO5Bhc1wlHDZorMeIHInPwxH/mc7uFhCBKL85aLCW8kAybchA/0dyfAtm5mdBC/SeIb6Vs5hJ1S/oy5Y01qfSPF50Ep1MckskbFpYtuGo9pSqTuxEzjVQtG/Vuo3Qtr2RoY3C8XvQpmrQZjIkedqAWw9u9DEGvvFVJlJUNIzvjSWDf/f6aRPlrrb3RV4xUL0m93qoKr+5ITM75oHHpum1aXCX6ElEsSDZhhpGzx7op+XFjLz6kTwJtCAJi1++jTQLjaSaAz0Ht1HChoVNJ0ta1G7u5Q1j26FajJlZrsa8yA/PontbzUS+EgHyhhNpONPUruMwKJGmRHnQBRy1H40Zfq7kicLmx6mAWgnAyStEY3FwxVA9N9vTJ6dpQyzvMq/f9Zaee/+BO7spcdLLE/TMGg9Lz0oskIor/Uq+wWRg8+w6AgwK8MWuf7UV5o2o6fFX/04udDiYDTCrwAZMr2oICKzbFt4oX+TdeYHJAMpbph3Bg8VFnT1KgKNn9ztr/BelIgN5IjHj7/t0VrTd1E0YDp7uvLcXtC1/45nx88UiHGc0o9E3jD+VP7lHxYTDBRhKTLWaa/BsrKNFoLkyNtryAVj4yz1m2yyJhQ9iUOYXzMcAqQ2HyPnOYIw1mOZNQiLhKUTOkgCsZrQ+J9OoFqn3E8u2VTCUr1ycbduTQpjiQmY2r8iS+LSImrV0kG+Xhl+Xbf9vNQ12CDPyyjOVPLbLKx7DmrOTxEkyjPrrFgpR5iS6OfgcE6WZ/OPe/JVn8/LEk67RqVmabGaM7oblRz7hjQUNPSCHc9woPwgjtvv4il9bzc4xKIboXOSvM/bpaw3RdtuIW4/46SFYVreI2GAsNyp9KO1WTec98oakk6OLcZWss+Z4hHPOcnEd/rGgb2t4Eq2ZkGZ+emkKfznfLOCZtHhftaucEb4Qgj+RDw7PfCTIW53Rb0wzYq4viEqVROu3MvU2d7b3/qG35xqXhm7ZplxkZT3xQkWDJGB7YUEvZCqJEGojx/soMDG2riB6MqFJjhvSTuQQ6vLjnQy8KYy/qgm6HdeDgcdyvmaMMHrmn9vM0nZwl3TBlSvl+mzlbqfgeC5d6YMpQxw12nN4tQYS8FTOXD0OBBWDqVunjkWvjg0T07BGQ3eH/ccXQxVgo0SBubH3mQW/Ymy1md2ocof+ZuSzrNR5Nkl6f0h/IZwczx+US1n8z4iRPb8WxaGnsdWP10F50Xqq3lMA0WwiRG6o9gmPcGkkq2HeQHRrWCfDhoDu9jmRAxFz2Lnstunsjw4ohTeUVdvrMzE3T2eBR4SJ0ELAur5zi1V+IHeyHggMqUqw07GlDefrCiUCkFNcOuQ7pQ1SO9sP2aTiL2ipyaw6zNbhx8o235csm68PwqC9yoSjLbq6BYLRXdDMrAhWplN1lsjP6kRouETwWr2rvZ5/L9nttalfcj2qwrQH0yDdti8tWXX3sqXI6T0iNLEGB3bMsCuL4u+kDoqtTv/5JkxFArGynm2AwIs4iXMhSEgWPYZ/rvFXkr6+Ok8YHXygXVhiQPiCg7PHXBMS6osygvpXZWSRNKdgzytY9jflLPk+D19g63svkHfz+1hN0aD+GncyxZ33cO3xhxtBENevbpCGdknymUQVd89ceFqfOFR/3RhHrz++MYDI0PqhGIEMyUcIjpzyKA8bETgfH5sPlXAEBSfJdvRl5jT0Y0KRjCbf17tonQ/nvAyaEGC7XmcQ/uG4+ep9kEV1doLyd8xqj7YuBckyc3lQ74vqEzdl8xdFCf7By0vlqIqhSYwBLls0KaJKunYmyfX7fkoFsFmR8zwfkQbJs4FUOF2rRQObjq6vfh/31LFOy+DQz/uS0+EqRgflVTgm2I2RnayVhfjj7HJs6N27OHv2wVTOVL75rpWZ/rGDzlSpq7lQyKjQ6sofITpJPQmMEI7sVGU2tO+rQutI/27CsTMP830utAb6IyugCCnOlSfTTP+SwDNotoD7Vc9B1nxE2v1TnB22KNu2VctX+J6W5KsSKvBrCrT8O66QdrqxcJx0kBoxLeS0WM6iUSmeYSVaE4jTO5ytExWL7EMITwFKVuQDd9izkbJdZeOwRzM1Yavx5T5nPWiKVaeRHFOofdvnrEyEHZpSkXZedPFfwzn9vOtoDlmoD5CXz86t7LgdvlMkEFtI8fRBxH31oz1OhHK6hemucCBZr9jzIjBZFBkl0BrhqQGt5SVA+lzXt/4iXYtT034chCLi5rVHrNR94b/8OZkP1KANtYiqSe24GMjh2T8dwKskmq6N/H5y2SaSkFNIoJj6sfYqEhBCgc+rb3ZYr7bZvqxquvysx9WD77NEeLML+CpgYEU08MPGsZEn/2NarKOdewXDQd1sh1SYaamih+FDlLeYLmd1SNCpAp/NNh/tmHxICT/voANTCSr6ipodnFOSJ8rJr1TnjZliVVb+OWYs1Ztvly2IeI2F6TmJOt5bbeWUlBDR3oc9da383NBWP8XSTggS/lHgtQFPre1OrTnVVcIqF2NvJflMR9CFFxrFZ+dQuUYqZuUhcsVePXsdwjEROLm6I53uWwiCA2reu5hOOEtwsdVyJuAh3brlhVohXuQ4Zypa05kwa+KL/urNbzijrJNB1D6VP3E56UCg1CBWkMxSggy5c1GNfUhjJtiARO2rvtFJxjmiJuOtopT2EtAAwXk5nTwvDfy+meFzeTOuq64ZTbrPFOsDlJy2kTDwzn/JLByrNrjBG8AauSOAZ29r9IyTdua42yIK6h8Aww0hfcWdEzV/qr1YS+WYHQ/RSrt2jF8GAOG/ivUswX+qUjn1LW8T+GFsoklH88RxqEIPhHelbFGXzR22uciJRjRgiCPfb0hLZk1BfZz/n8qXlx1BmBU6YmPNW/Tx5RqbdkIJWfQdZZMXCK8DLKDyzyh1uNtbuMsZyXVSxD9l+buV15hBV0EXT7nh7yMQrKTTzFfqa8NWvFZfOi//CWL4opgNjGad8fx7I3e0DXaDPKZsg3s3SP0ChX4EuUKttOVZuZd9h6MBH6Q3qiyj6QJpzsVQmq/K3LledymLD6bz/TE4gUSVlyYM8iydVtzhEXj0QXnvDvYXNCaWgkKketap5kp1Z0Nyk2YnK4l0JIeRI43AdzgoK8IrWFBoBrCCoM3pxjEg6i/3aYnaHqIqnizW3KCRcwzlkcZCTmXGSe3xHbYNY70Mdjve2udgCTUlkAaSExqhPj4+P7Ip0zAQeTg8GKIZNP1NDD8rwHVoWO0MNFPWLUoTmXTTm99B3haR+l8Y+0aEIkwyrAsS8Mx68LIi/eNXSMFedrZQyF9RHTCwHS0f9nxQiRMCrqfmiKvFClbLEI7A31Xrl+bz+24d7wgDrjER7or1mfrDNwTLG5+MY+Qm2Y3NuGaQUrb2xKkiL9sjeW8wsLJXE1WY6GWjQU9g2DpbGm1TuQKjBJ4XNeJrtuerOLcci4QswDPIsRNayfLwXMeG1GfWolaWpSxSbHlGN0LgMFV9f4zluHWw7a9BNnsf8rwyLj1YyrxsQVSPG0810iI4a7EwjpvMfeeh/s3S1Iy9QS+0gzhZJNH+3XxyZcI5eVcGjcCEekMt9zmkYfg8lLOkkXjh1h0lPTdZw1TeXQo1zjC90Lo7zTYOUKnwotjj4Jl33DFxS0meAtWuGOpZhIEqzgUFeVv1lA5miIX0Oeziymk5ebNtOoyBOEY7lC2kOlDmgMZEYxXixVLrq2zrfHovW+PI8WUMunvQQXDrRqKDZaALSCpge7/mnGRhrbQ75P6f4JfQenTqzLUuYAtvaNuDLbc6XL9w5WAgkymix9r8mWypyFcczW2ccXqX7avo+LTJPiguvpQ0SPKh7Jsb9GO2IQ1v9qvIQYLs0ylHP1LNi8GrsDOxh7NCIG9HnPcgHaaWOiOvWmkIM5HmEOrW6a3As8Q2TuF67YSbNxggx5A1NjHUusGiN9H9h9wdtnX/4BJW1OXXCBY2OIIJO5XCcOgr5jGKt8TAX2j60kvgPaJOvjE76MVUdTcYGDk1RiBdSSWT4DDsbDfiuxoMz7aCUi3IQOVcKvTY6z+d37vgCTF+kWYTSiRYfClp/breFipVywzjsCHgXYmWYHJbJGFJurMtYM0S9lZOV3Y1JHb9ksOqGs2e2RgBrVQBKV9lOdUMmPKYh7FcM8FsPczEAjrVavsBCC3oYjqA2EB9WMG0Nks8rBn654Y8iIQ8iGsp5BEmZ/hUmWH2696VLcT/zGkj9DkTj1vciWG4D26jVxdHt9odzZZpqQTcigLKc4pxnB9B2/PvsjEUR6C+M7i8to1NTWcGzFTPAYljXbMuUcTMsd769LKBZbBHabt0uqgYPScMpmrx6svUxsax/5DKxyCmvMhG/6sHynRIQAYlK4/i2JhX+jomDOG8TNT8xSg/yT9mmgdOxTt/On+SNUMf1Y2Akatrf6Pe88CDt+YKY/oCv11VzVFeEzEIPV/LGnbelDTxeGIcukJILXWC/V/KXIvdPtnDQ+A/B5OplVG4bzdVptpB7GJcVMsvaITKCoTzeX2ejZDU93lQDC2eSup03BH6wVo1k0HhuDoLE8u2u7taZqhmTDqNcbgK5AW6aTUuvbB+mc1+ec/2AhBL0xIFCzM6w7FbyqOsJNQNpJNeQydWksLNC11GODgBZqUSIWhvEy3jqJ4txhr5wUrYjb4aRl5IXqP2V7ERc/ZmkI6Y14wc6jJYqCYvj4mjOTnw+eX0Gmdkk1TlH6o2i8xPr2Cr85LDfIAnVr7TIlcpCmhRd/nZdHMf1kuOznma4eUqDykRLU/I5n/rDw5nKWZQT75fLIMYmTVf2TOOrCIX+6lKHQ3qpjKJZ4/Arg4XRbGI6Nne08sd/NKlp2ek0PPjLizwwgkwlV8WauDyfAeItMKjKxcESWrNWO8rfqFtsXrbrHQ10G4ucs36tuJHSX7fDGtMNSVeYOSB+e0ZGW4p1SlKtQqUKyoG0mP7tsxlMxXNvgAcEsgVRWu9or5FCj9PUMH06xZOu0FZOUkU8jBNupE4/RRRhaUkQExgkM3ToNACSVkhUYrjyixKekvdRxuOeC+Dm+4neBQyaXwaYJ6AKzRSin1R0Wal3wBMY+ECeOeUeoG42zMHuP/jGke6HvRI/n1MGwabKunFWKREvOc1cNd05C67j5nymyc+oVNtcUADNw1FF9msC88ntyznUnzSB978YgNkxJMuGYBjVxLR+aGYlourcW8avZV1qNj+rM4YhRd35KrVNUnLyQXaog/13RjW4kCb6luaU+aMA5c1vRIKNsXuYEK/C4dzXFySvL7fTz8jv0d0npocusd1Iy7d3SFK3QhUxL3GNF0XTd/dTthSW3CRA5Rb5ywNF6VptCXpyErrYIoGsLWUBX820OqHEXcSEYcMk+gub0C/pkLjrqpuTAqxRyFId1eMhvUuHX++BiHC+U417hV3iTJDKPTBmCpmD/h3SLnzRGGr8iJ3h0/jss5NWb6CdQ/nR1GTkCld/0xtbVqy5vkiiJtb2msVKkFretYlzosbg3DyIC0PTeEgnI9L1U5eHHtuSqu6fN7KCQfKVM2khzF1oRQ27U9zpfrIX94olmGNrPynu14niM4Uoo974WQvwH/AxaV0PhIDs8M5wOPA8T417LgUqp+306m/2xs6mbxPOXFjITTzsvwSrGdKGspFNgh3iISLmxwtOpa8KcwHMrPp8bDMGfBvWtzMEO11VWWOjtf2VfRwC1TaaOeh0bDmVVdX96GGHtOoXy4LcPKjWUudwaS55VjEf8nu/YBfImeuwDkKzftteIeIRyDYSxeioCiyTEHGITxrTog75AbDhXOOZPNvlc9WFx0vv0kd/KX5piedB0340ZIA7ieeI3HiwWZM/vp5iLAm56rIH8PKdgAGEFKr0S8M2RMmFljNVbFyhZBUD5e8qKh+z7spVAjSSphKNH9uL73CdTX0YNzserFXTWJ/jbgbw7rqgn79esO1v04r2MkF9vy9yBvYF9m9lnTCRbFgMltSatTHq4ejBHsmcEWmY+7U/FbDH/LPk9Z2OzV0wJiIGPOCJES79oq1KOOMhp/hnEoorMfrj9/1tRAHfiegtDbVI0GVogyh/nkXKSeoWHWX0on4Kw2p1oFnVp4uz+7dP4PX7g/0gZtH/wn33Ckq4gUxRiOxwR4+DC16WFC9ERvwwwx0mv3uvsjUoRVLdx8X12GzllJlKvCnVfXtOON2hqM2cozfsQhUSKo8wlBpMFUl890uB2eA4Jdsk2v0AHaezLXN84SupkCJdCFeZHIBg5B6JcpNLDv6+nvIWbILHIz9p55liHYVujvjbMKezrOPxfNCQpAXJ4sFQsiWaQSPByCFmnASzCQvWFuY6dR3WIwhNSsi6c77YL8dW+2JFL1smCKzRB+71KMYt0fBF7V/BAmnL+a8tF1Wk6XSpm26VSUr/tN0gGnEEWHh1FAZjRcrPaGS+Wpas86O2wUDtHYArdCzjmwPBZ1qroSNKZf74lVPw/D2CKgC9UjpWa5EmC8fflsx84a0sd0E6x8R3dK7da8ccQEr3j3C7bjSXjnxkRbXlvY4uGiE8QAZUhiZvtN/99+VeEqGBHl8VbVPD23kIdbpyycWR71yRQk8+2vZfnHqEUVXH+CA9uPmirHPAKcEyhLg/pt2TNfljVifodsifznQeoisM16Gp/wQbYdne0h5HRO8qnnFlRM3OxqF1RMHytGJdWOF7bIDA+B5KjEma+WKn+djDmI+TNTArPFuy6wtg/OlyHr+0b8BG8WI5dH07QYsJ6C1di6E7Mj/u0q74W6KURSuD9oXLJ2+VAl27p9QIJrs/lY8GYw41lYF2043Evzc6qvptGHqNXLQz3j0oK0sN2n85cVoZHpsrm7DAqzzSdMT+YpOxk92IbfrL2GGFvrC3bnWMTfHVrldjau4HPxVbHXMIm232cpNjYysdPSsZiv88jTjLuRMGVK2hfJZQcRhQit9PrMMA9IgaY2MZtiWQUlv0EPn4JPVUaFqR0+c+JKTJi8opSODdFO0VEiixAafxsiFM6atvB13vYpoc0vvPFkycS8IrMaOWU695aJ9nLu0PnUQkA8FgLZ0jrZR8+B+fVAt6lThzh8Bvl0k0AxsIIPeYZf1lsS1ja8BekIWZaXsKE9J9ngEUuPVeOKrGQTg2LM1BVdY/qKhbXVG8kvVeZaeuKmFKq1PCGMBvFUr1ycS0ceCTFlFqjo1vDn7PpZGKpuAKDQNf94YHVACC9/gI3wDDHOjL+L+R32JIy3pJCcJbjgijOdfC9fCfwEi/IlEf23eclq4ZCmp1lRtldlgSaIXB42bfPsL7fhLacvSHSCx5jhnI0Otc8JOq9hRl7/GbMElDT8JIVEsEj5vS+YKJPbEjA6Zu4Lz28ArpUcyW5xglNbxn3ca2puDi6s/7XkIjUW/i3SUbJeEIMNfTK6AHqP7TyS7f/kNEPotUPOmvX+n5+exf/rLLgcc84HK3xt4H0KGo2nacXjQAuBmUHAv9gLR20hC1wlTeF33Oh63od6rk/TSA2KIWewz8yGmUbDUUvvhx3ShfQmcOZQwEH1S/5W4DocdTU16qJ6MdIDpDgyK7Mmg1LFNTdbdeh6EEJS/Mgn5Ns7jYjXl8thCilVhVPjddi2LxTcFap+H/mbxPy3qJS12Lm6L//QtoXbc8YeX4QWwd2o+UIK44GNzIx14w+w4MAfyIL9nR2V14AEkWrA4mG/J4+VzV9GNQzXRruG56gjOwFI+tgkjtL0QZVDUbKxBHFfr1v/3XOLdaCTHO1o/Zm3fv2/umBItNwyDRPhEN/SJB4WQ8P3zUJNggrzJ8wYH5FDxeVeVE2PtmhO+0XNkTeFN1pSKv166hHPUSoVN7XH4cuJZzZ6AwJP5hFuB7qx7DMy5LdZvuHLnnSP3VniSZ/yZkupYxYI+onIokkvXHXkVDsB4CsanESk+vDPOFVsqTrC9RM68EKu9ehlzxzpt2zR0LIWSxqar8ZHESKR95MxEwzyI5jR9ajYd2lccAVWzRb1d2VGePsFGwV7A124P30hiBuQSMXfhsUe2r6h2YmJng+Ppb/zX5IYdKAJxcFF3hsSzQepDEXzMb5f3N8/BO1mWDiIZTeGnxyoN48Ue0CsHKJzQtxpbuZRcfjMZPdZ01Q8M/90YML7RhJ+JE1n2UHQs1upLKWYjzLL9Gmpqlgjgx0yn/YpEKO0zgbNiRk078pJs6LiVSvp4ojVjUS+NE0LlJM9Mt9bxoP1zBfILMNS75olJEJgPvVWjFQOAXyHFu/rlrmKQiP5VZZ+PgDz2u3gWEaQhTzknNzZXMUscxhZ1EYbspiNTbGCYawLbo5KJzWc+lYQjL+6B9wf1vob4NqWaChHanHlKUcNv3fkaSIeObh2VzP+vjkZfT/bhX4mzLmKE+5aLXkjeeSXXo3NdOJyj/t0McHsxHzvpEAHs1MHQ/jcZrJYxmTw0VIubQrWwJV7dGX1Uzv8IEgfQ1G5Q3P3I8HoSgzX7AKyGVtdk2/byQweIdyzC6IyfU7A8BYSJImK1+YEz/FM0oRFT/OgQA+RjXNVjTB6SFv2GwO25ZCRm/cwR2EjvLbC3Jzx2tJfSmKXfk2bPLc1bdFaQa4XfcCiB7iPUWyEi+R0EKHlgJl+UcZS3kR7lTrMniyMPcLjFOYlBh0y6Re/XPDvjfsGiIz9WN5AZNKPpcQ1mVc5EX1wjqgiVFsBiUyFt1k8qbK2feSFrP3EI6XtVlmujZejc21k/T/P8aPhHp8VMFgHwIj54n7c+5bdPwcg5R6Mkmss5WGxsVqZgfITThfYdM04YNGvdNrAy5L7uAPGTdPntQB38/h3eYq6Qy0Ym14u/kzOcG/5omQ1Qfr6uu84r/XIhS1wHMjOT8+rRpMpi8F+gQ7KTqgio6pkQzWLn6Z1xikOZ4eQM6KenSdkWS+QP7sIKkZBxEiS3ZbSfBTufFpEC0BYMudQSW0CkxEUt2IZD6hYFJQsciT83lj7girIreSHdnjQvC0G+dU37tV03v4xR7CwwIOlw1TvIwHy/2wyE5HnZFj6KFwIOXpKxFkzORIOk+nUOR7iUwobIGQJQnuhVWzZWL7G2TKVJIXX/AxNRvMmzZh95vyH4HJTTFuwc/Ywxi7tYGq6Ut6g2n0B0q+rY7bqeVZcwZOJ+Wxg9F+CWbbYMHMsTECJ8uqB7ONZPauuY08+K00Xq+JKJLZ5clr9XZ9UG304xV/4p7OdcdWKr0XX3WFdOS+YbQNl3urXo3dA1yNoNyIiJwzWp3CDcmARUECfmygH9rXXt72DuZZc6Un9jZTyeWVV3OI3MGckZxdpbOvp46kHKtocbTqcl8kBp53Lsnxzd5Z22X0NZyPgDmY9gX6lGG6I5sURRVVA0HH5CKqo8bXC+Fc/Hm3vh0RIkvtqE1PF9kZXdsbI3c2Vrij/nvTeEgZnknO4wqQOwZru5viky/50Mhft+ys7ToCjFPaqwkodwdbn+g33F4xCvislRLYzZL7ZxUsj4Qi352+WVrNfFwvZUqVTVFJfQ08TFWVSOVoL3q+kqMRhSr1w/B8gP8tIOVxHz913P4hepnof0PJkXPNHmjKXTRC4Xn+Gwa0jadCEQb7Gj6xBXJ31nHK9a7GFzaE/gQQbI2ud6cZRRjuTFmLO2rcF391AunMkS0kL0dIt9ksYWcFNBhTluKp27ng3Ec0k8ixI3h73HbM096mjLdsyluQ8xu1V0NrI8ulM8BFdA4BPL2VLHBw1G/pV/npvyb3IP36fdPuZt3M7g9wLcmZhFGheUSpeHKbM73P642TzFmA9Zkx42LUUlnvH+Mrm9IkHauHWIhdY2O7gvQutDNzvDTJ3d0h07AHWlZRuMnPUhpjbi6+pzOSR2CEhtt/4a/dJ67q25jEyCHYmF0l3K6+lyM3uWatNgm/TgQ8My5lR4v1E+4EwXJFpjr/orCPYrul85iikrQXjIE9R7dZFQOgKyy04Iek6Va39xeAU7PUL8R9hnOtYz4OLDNk72gd3xSlFBQ46IrCrD3Vn3e/1ij8HEUvYxHFjPkMR68PxEx16fHuaAWWOKR0e5uszCZ/VGMuGmALWeFwkpiqqV7pTPj7O6oZFBRksMX9A6YKCdXxXThUYmJatJginBI8+qRVh65MWbI8RxV16nrcs+ssnDj/m8iqat5Z/f6Pzt2yvs4opDDVIFWe1zgshaA0qf0ZUc2zNGI92sJcXrFISiuAjj8226NjnYeYaoi51L0oLgcJ4wTtBwBYzbm8us5nibELxlT2EmZCnLmQkdKWUSlhKRHnlGplEMOVA5DnkS2T6KxLiQIAsxmETzYyN3wz25Wdx/QazugzPIzpjAT7udnKtG1CeDdzOkVdalE99pMmH2JSAVrH3HdjK9TkeAzQHTerC6i+HCcv+0w0EHkJZkZzbsLMNvNL2DP5t0lRE+Mt/4wsUz2xoJ+893bwz83aP1w+ROI4YEpayf3x40C8nIJw8dO1ruR6JuvNlKyGagCZnfw0e2Fr1dGH/Kfi+CYqkFkyp+uOi4MbpzEO09Sz8/1h1CgjpGpcqltPPc8eAC8UVzmm4bjjkpiIPM+xp1DahZLy7KKuNe2EMvvvpD8cNKx5apEsw+K1khhoEqiITEezvkGedlRBNm2cp51b1OWH5LAHY9bPwku1R6MRzf2encCWw4bAlsk4wl8EDFsFpCI14CViIalDCxQmn40XAXfqcXhBwn4qQgQyzTB+dxCaUC5INzZtdFw2YyONqvP9+OoOApGBAFqXkEUUqjWMSkpkumyeM3fmj9AmxMvtI5goThM5iqmzTHpEzF/0G74orjNk3o9YE7Qix/joLN2eGvIE/1nkWUnJiF08NnzC09nXYiH5b64UG4aeiUgIk3kE1QJ0rFUnLnH5lxNd/b4Knqb9o8/S4PlMdBq5BTByuKuNwJOVIbFvIdK8EswQewtkLhLSCfZUa8kJfy2LcEpf/Qr8GprC0IfxoshNDLrsJ8uk82Il8r5jLlpBJgSA2AvmWiYFVdP84spzSeHI6WAcJ19AOlFZYio2M2/4T52Ul60MNxkqcIew2vDj61DDSX0VgBLyz/Q0oVkGqKkM2xxXTc12OnN7iNPs2rn+6t4dqYEaq3tFHgsP0PnXr5WeH1pu/i59jxhh+IkMflXFslcBGXzxM/9fiZaTt34Pfk8w3c4ZLwqLl5fIFQookZUvenIY6rMDDEH4KOY7uaps+iNr8CAja8RhOc8v1E2k5gW9pCle1wGwnO9wjnHszXxCDem+3o0o/6uhQvexHnjnGt7kwFGn3FN7QLQcO+g4eef4W8MrDeqbjWidglkEiiROMz5xZ/m7ESa+JvPUdhTLh+99E4Zg4r7SfAeIf/h2T3gkfz2BnIrCBJQ8pNgZtWPTmEfncOedXoQ/Nh9Kn4q2IIFq+XPchI8zzM3/lBDd2Qn3e/907KAYISCnu/VySzRSzDCl/8pf+7LqySHkw5KFIRxsAe1SqYljgCL+K9VgqmHB+OmZWMO4IuuLvtZE3pASaC7hAsRRLmrVK0WNTJ7Y7is64UltLqrOVwiZziOdmc5uNL0ZApQYR6RfpYArGL0w6tWYnbJnFGbkT9XDN4/aij0viASFPmN9++n0Am94LTL6QT1qdC16SgGgJ7cKH78EeTrQe0VMjI7PouNAwoEhm3bxi8nasja+9T0W9jDB5ZXb39cwGobymPqJOFhZuKivWwe8ZqydveBxWxuYKr5Vn8NLrDK9yuCX8SrvhEY798bvEXYFfsYjFdZg8NlQFW51kf+SGVUXOYjacwSgXpxGY7SPG9lZotPlanPquaZf8Q0FK1WEBQc45pd0qJq4WtH7AOOQnLH0HaSe0aci4DL8LqfJsGUEuJdvQLeiDaraFGyWXF1m7uAw1J5JPZkQxG/dc08YPDPyqiMrEvHci1VOiYKjrVc9B0REFJ7TDUxgQFwU4YSMiYlAMmdqBpYcFOGMOeP0ue7CP0MEmnDGD7iotVVBJyZ/94qM9JhrMwzqn2wKI2rkGTXiuScMh03aTLKHd9UDqoDGvta5eVChA29qM8Y7NN9ZLPbCN2j4BPLSJ/R2bPKbA755GkPbsigXRbTKnDa1NOmCzemOTko7XAbsoLTKhsM0R01X9bGTUY643m0TuXPhTnbPiQaPHRnkfhgHU4mQ6V9qnpAadMzZkkoXAchMGW87rF8SaEEalCO+TsayiJ6yXwiVNKTi+CAufb5xK21f/JKq/LjEujgAjjTsyWVkINVTM+lDkHEgIKjs2ywJRUYnLd37j+ESE1jupdvgD/YX0RiyCJy/1otekRitec4DDyS9PNx6OZFG6n01Jfsxor6FtcUbVdXkSh0y3UfnbYOhpxiIvyx/Ps6Xej1If0goVjbq8iDoXYDXYntqITMqr/mPtjCT+o8v/bI9D5KH5qEzpgLgwVGFxX4+2y9//OzqmkabiRXfOxlMBe/ZIY81pdH3YsEENTo1Vmig8X19MI2qqVUnXgmcfxthjKH88Xxy8BpeAp3HG5xrnixe9xj0mq+LGzfHx2KNfZpbo6mgx8WFrxmWhfXiy0qrMyj/BePZJcpBR1EVS2LYvFKj/4EAMAmXhwIEHXwGMC83Mged3tqudle+8vjv0/ABtfs+0E076AuMNadc/8Zgl6iQTN31sf7d9pjMkJjxhqftTKTjzHYXWPaaURZ+iDpH0LEmpU9G8zLCRlt6w2yx0/2tmOalfWht8Tea0O/PixfVoUaGiIVque/Q69hEOaoZdPH2/UobAIhV1Nph9b9euXzvBOKatbX+zvtd4Hey5V89RRhnThazgxAGDf4JhKWfNi+hZs1nD9fdyS385QYLz4SzXkosUCpLdwAFZMuyL3fjI4ENmQn9VuHqeHf92lNVek3EKkW5spe1qo+Nc5VjCV6oWGV6jO9n3nZK+rQ9UQCb6qGLBlER8ZIr4+ke7nsMQtWMcUY/6pnN0l/qe3MAwXJMBDktPY8/c3Z2iWxmaIeHGWAzhx8rGZJVD9ySLDhR7sTeMXWw1oVzo/4pFvGBpel8u5mwPlmThfgSW4FwELj4UsdKwSZP/lvw+FSL/NnqHpP02Pb+UPeUgQ9sBojU7776u5PjS9X3KnmU/JRWub5cSUbLyrpjw2w7IWLUAf9e/o9q+tYg+Emfmfv2iLtb9b1/J6WGqT0SJ7etFeWX3oiUnFMkZ9HDZ1WV4UIEu2uakRqeC1NfYL1eBvGisGV/4MsoiTH/TP1JaOc0fNlc78bV5d3tRwzef3WPTRPrerUxWGhJeEh7yk2gZ4nHciQGEs4TP5D5AXZTAobdPTxfTyhSCJHZqQAQ+QQsF6S0GW6crB0BhKBUdVzBp9hSmPQZSBzPJvbuwajhgah5rSwZb+JZKCV+fQWfrrS6R1AxaiYQSYdj8Ib2+DS3RoDvZ61BeZqsZpYphxgpYmblBidyNNjkBWFrPbZ8wF+30uqYW5FCMRrhSPzb7ki2V3LcHPYJuXO6ZrY8N6wIDx6AfOuHzA0mllil6qAyraV6y6yUhhNeSTKyGPQn5HZDNi9PVdETEn7DL8DDGuuAv/iiyDWiCjSIPbsoFMTE05Q6+i9OxdSTY7Aue2I/3Vb1LVs+K/r2nQpw5DgfNmKGeFjVCruUKmjILSSIioUNPL7liUj2PAWIKs2Iq/tHRxFt9k/1MT/8bJtXX5RzB4NveEna9kOmv06BipH7tovG6mLKbxeOtgWA/NPLXNI8Cnm6wqomOtfJjWWQciWk7wy3GAEHyVuWmrUwNwXuQuHQQT8YjtRE9f3yx+tt9gw1Dpa5LnsJC+Y7N4p1e4ZOb5ggK0nNo0XXQHCYumA4lPing1/49A8Gomszrxq3UlDcot6vqyFLCAiPyijqOlKy0B+w/8QRjY6UYx20pfTBVv6haTt2gQGCdZsRCcXAedsziCB1gFdgL3D/ld0C0o9OAK4uHNSBYLQ4VZSYHfXg+AdJojPzHL3Zepo+33+LPpmVik1Af204cpHEOHXgaYPaKaKxPM9gwpqo9XIIQ9I9LCkcY2Xrh13npFarF9pQt35JSWbRLMiq6Fvpdx1ZRMcspXyfmSVRjMM5fawOkhHDhZcRfwHVuv7Nqa+1CPIpjMMwIRH3g8sYC8kfQMMdkjYa3M8akfbL52ygBSjrcsWhuPsqOdLRiPeMPmp5RP101QAIYd+DRHGht1PH6B/MsCx63D3oGVHnVAvrxYs2u1jcJZlWpDa0H5JjXwtNNAhlIRAiqfphfpDRJ1OXA5S8tKQVO5wOyDHQSqASsKdlHSpGbS2BSznC7wO5h7FYfrGK8THBsBlnHO6CNIp+WapHPr9dlavOapXp1tR/fKkqoLTu5I1zolD0JEhjHu2vkHgZ0bggN0yCmHEmxpnQBfPokKJBb7W++y7TrATRZR7Wi71t356fIjFGOdY2XJLte/dYaH5iDWc+4jqzRbBNoQIdEsaZeXgQW2Ng7SA0FyNJ8BwSU2wFMiHTbSY6DQF+z189f3WXu9uEo/rGmE0rb29/6GSs7BgkllOc4cH+rzBy1H4NBZibRfcYaIZEOPgiqtuikmjk8WgMkVsdZbTyX/UK/xqf70Ut+ENRfRr5gCVD+p5tyUBB1GqA6XYgE60pUCb/gzA8BvmX9S/TxL9eRFHzdEhCkF+Y/IxJJUcvVDXDb95j96G936h0ovLDTsTosU4swNnZjY+wDtQmXOJuuAyBo0ocblqiTfMcGpEw7LFueQd8kra6/vE34A+KNu38RCWFXMNNSiJLcNz3tD9efLAJXAV97Ccrj8/YIkQaqaX27UoMz0Uj8iCrVBhxCtcAfpFgbyWrptz6M0hksUd6+o46ADmJbFE5QG3PinSM1TZ0T4eLd5uKKYP5K2vsgFsd3kNoPUrvuVouwupnHyZuldNufOSp2VHdFZyNDpRIIV/Tp6idC//etVaqZOCg6zOZahZErb2mU70P7RbS/EghMOlJHoNI2+W1l6u5JKkI2rOg7JDys8vILsXCI0PvlSwujUaEGSdJPat/9OWoMUKJZOa5iZCaZ7QSeU27gbgS4owai+Do7l8Z54MQPpHfv5Tl3hoCUB7x6wXNdgUxnMLf+Q12xAxps/5FMFN6LCkhyfDu/++MMGqtDkmpZwYpUzgGnRuRroUn5uOelWFqRCjfoZ7KvOxEvszfWsNnShSX0RRg7vQIOSQH85+B4TFTx4mdMH0uIqltt0U0il6DeIsl0SKRFkrQp2F/kyJJV90Y2tPYvDwuDDv7YhagIRIP1NxFww1muCzZk08Wu49inZfR5Shi+yGRlug1dYYFXU7hg801ssRzE4xf8lnj2ZZysysvTCl5YmY/6A2Iz65Rqn25jvkaECbgBZAehHpHqdxoPpFFlLtrMwVDHaUhJjrHOzbvAjk9fswHxFCvaMgMZpeHEjyf3bOSQ0U2/+xqxn9E2B6oipbWNkVO1Rjxc//Oh2kktlnHMNPt5gi+bTcFF6X7Z9T2zN8epaVO7cAhNALCGroe8WhX+ZhSojrrHZNPsS8M7CJkkpP1+mkH1Qojws6wf31iwbeHcNO7RjVgDM/9U4x6oy8egIyoS9fzLLTG3wapDyNBz51ct//cGC+i+X7NR3wIn3kAei/31R3fXoKybutSH28E/hMiR3JX/IlITdWVRNu4p6mpP3MgbTy7OYop1Kx4SVngSi6xZSKSeC6skkXBn7vAa6rsVI7CDJhczdApsr9qlruJCHEKvRA9HdcO/atpv5r3neNKAiLA3FU/DCOop12O6mbJWgZ/py7neeQPt3BxarrUtZ4CvBZKR+YiU0wZ71rmC/VG9DyZ1VJad5q7dEDB47Z0mpfqs2Oz0lw97pbX8NeSr7T79qz9Y5JyrgxpGlWGNeMXOoC14ZRBkxtQk+Yd7Xgo7SNblOLb2/zWqPL4Z7iKHq2N8MtIT6ezg8IDbtpxacs+nVsMdJDtrrKDWrlesmyX1OrqFHLaWq9mePv3wlz9RJQo/FRmBgocIIzh1g7kk1s+olt3J4B56nYN69AwNy+hCfsyqAQaErUH6HNz5hd7EyP7zyOd1ruySWJLO23ApuBSOkgeMuY43aQ2tlvW8QBFmzHXIc7zrV7zALmi9BhkSKIXfpGCKR1v3NJloeP+f1nsHW5Q1a5KGxabhlM8OEwgz6RFax4X0TIcRbQrEFcd3eFsgtFPt+F+xo3parbeiHu6CqMwM5/+1Bc5qrW3xpwUnhp5+LgmgbiHSKR1Zk2xa313s0+5ArzzexYYimsU/PLCPbpxNiEwc1vp76bpX6/RKZIiQUPT+Irud6hx8xVv7Koee25K6x8M6OdJEaVhduvvkcjQy5iYDEE5ahrgQGvjjimUvOaG70MB26wambcv1avTosF5e1PfNAWBhFfEzLXi9p2UlLUOoYUjI6ECNlw3KDyDdt7BnNtI4+fyOP8pkMPQ0YKwARw1cf3b2Pqx+7V4PaiXwIsfa7yKeHdSgzWqeA/dYYR9wOGZxlLI0QKOtkUIopWe6gi7lLBhwgaKljY4QVBiXJY1BWfmrqeCnIkP1KR4cuxjvnDOQpx4ZZA8MHP677Oe5luW/1Iyl69w75KQaofXbMDD1mdoFwoVcb3ZJO8/jDxTS1wvSpyvj7mha1eQj/snCu4oAS2FgCqGvIt835P6OohJa5kTPb7fQs7589Dj9VvH4eBols1U//LpmVT9fvZssef6F+o+9a+Euh4/FN6/BroluckreeQUQ69Dhc/zkTjaJ23z+ZcvwB2ibuIc8w5PjkQkrBzUNNfkF21tFqTrA6XjBlaolvXX6hnLZHBjiYzo51od1oZjNAYgkBZr52HyuSCiEy75K4ivOqjFGvpuoCrKYzWR5CVkcQe+Bs82KOmgFLhHQhjJrKI0irrzmnROJyKQFE+kuCE6EQMzLZsxyrNRlpBU3MV7SBStjmTzZEsrD8/duGhe/1OV7l7cKA8OvhBg17Vk489lKgQ61vsOL28KDGYsvxMPEpA9vwpDWHm2Ntj2cgT7tspkJt0jH+mDBvjIGQkIXbmaQ0fdG2fEQHihlmHjbes+aFknBGybDfp3b60DO4A4y/SrsafQWWQFAhHavauy2CfRsk4IiF2hb1g+k8dtsexdcH2H7502QPKH2vC0LyG1nnW6CKvfChDXMTdVY4vC6oRlu3pm+r9IuBtFL/omF/9JzeyJQoFCtrMzG3/uGHN36bbem7IQb+yHF8XTOKcrSpXeX1NWEQS+tT+THeSFWjuwNGOBdpmTH13yDq7xI4cUhHB78qNfKP9oa4fOBkz86IVBGmSfGzE3C4DmNZCxcD5SjjSWhOigr0Zt4zVo0Z6rhxUpM6/I+YAomEzU/r99liMNaKgazpi4iMds/U4f2B1Y6jg+mugDO2fwz+nGIuTGxt/X4daCJVHvTk6RA28VOejaW3yfEzubuOISNBx87sZqRfkgvAF/Qcawo1d4BDvIgc3qv2rA4CVSxXSKYxcbga28GaKKV4CDa7ntnqbAXHRjRxlP+Mic5YxcLOa3bnTxn9vab0c2ZTxTdd4d7eMRq2MtBQQO3yC64ow00iK4r998p/w0pFttBRo5t8a8gZLDGSdud+88wKZeXFgK5E0aqv0pokUsVogWu5SzmHe9rzNWKtEc0ZCootNi2paSEnnVvQ5Z4Mx4iaDP/eR5pyEcLsUMwLKakpqqvOXnT8h9spve+WXo/r87T/FQj0GC/GFvMe55GjH+YayXrcqDA/JxC2yjNvRXTIWv3gw5Om7VGxPxqKsCrlxScqdoFsx4otswuC9CHO6oL3iVDX7+E3vp/iN0jfKr2LWqiJrvlg5cIsH4bKzrL5MkAljX2FyE5EqIB70pSUkM1bTzsQbGTB3O0PO5cPQx+boqIIekQI1JZJs/Sha2El/sENYQWXOpVl/rjRSg14RfIHyyxv5duKt0IIQt9gLvKLNawL7YO0SbZCPjgNFzAe/Eq8MtQceOMtPpcrJgiOnhdC/lJs/Z2VhcZVflhZVbaP8HmbGMsTyUeJP5CB5S1bbMY6Vy3pFjKTV0cTZKNDg0WbWRovq0J33c1SJma39WkO7X/+6hMxlYCHTqSD8h1KYqzR/AOpDlkknyXV+49E4QLhU1CGNgFM4FhlJ/INrTyH2G1v3ycX3IIAswj9eSLX2KPoLI+ZKWARsZ8bP2CdwPLmFXrm6jmMCirGQVKXPxCKDWwYmPShnzHQSOV+juyDWEM5qHy5OLscosNvricVtzT9jGZRsKOW09SQZ6etNknI3hqrXIwbujLdLXRvHFCN5/K0bKyKr0m2wH0cl6nv/uA7Pr7RUjB7zi1YBSgCZZYizk/BbeSdLwSxncLe+8skxsPeLpGdno+7Dsh4/zGGau/10jR5paTjtpjAZ7Ps9Rvn3dLFYsw4taV/o22uyEModLNCsKgII9R96mZzqGjOxgrDydVCBZwTvJ1Giq5VqGKDEq8icjUih8YWuL0L2KBdtX8dBajyY2E1W4TAWlwDXEtjqbUuzhH2lCOciPCNF78sJfmCNM8c2ifwv1+3HyT/0CMKoyqwBXUtC8/dYK//fbCnWNuBqRHdHs/Y2Jyjsm/3xrVcAo6NTHQn5tdjykt6p5jplI7rUHhNtBW3N34uX2+Vdzho4XrCl8GoerqMj+jut0P9m5DWdpEzsrtZKpqZ+eREU4jh/MA7EiJNBH6uX+fRQp4QQaRFvDJevLy9FjHlikOHBKpwSwItvGyaAlnIKTrwrE/7R/MvrIElaskYbesw+LfTCrHl+6MTi7S0Jvb3HymCkgS7LS31zdlw3JqZ7MRYmWmGuT01d5Y6kf/34LpCmbEFhJT1QvrEn802uMYTG5xKLMgcnoemGO/kgD4Ae7GhGfTU9WVOaBAgGVQv6fPgAZuTEryxzrZ16K9rU6EJZ8mSp1PF76S1njkNOTExA/+rDXio9B8/J62PCWa83D/q5MAcsTKBBkVTttmR1/gV07LBj311kSIEEEHCgRUjVD4JHm9ZQjiVgKYZGxzkzj+8LiHiIc0pHOrTmq5pIzoUmVvhfjQgOBV3F452K+ULHdEvbty4URsjPmp8WjQ9h2z0O4wQF6+VVjc9d3kQJBqQi3yUKshnp5YsbnIe+1hYsfnX908exh+oTC7RJZ94qCFYqH9QPKcFbvd2pZh47FmLmoOL4b0XtOp0y9LwuZrWliVUVmseQFHBvuvxessck2fKmAMKYoGmdhR8LMu32Qrdn4C97jERDNtkyZZmXjt0Onz5gMvcm70KUiVimTV+ZESZJc3xiHMX509VnFnUtOtKccCe0Y79Khi9Uy3/kbH04GojGrFFqwxiSllzNdFrf53cuoUQdH72dKKZ2QWIDy80K3SKZrjopfMqkunuRoQZtawZmmK5MAHD+8xuekI5tr/j430rlWbwxKFcxpPwayyQCd60pKKqTHrnZ20rzavMjihouGX/mMuYNBygBSv/WQ+6ZLPbo2o8uhe1rdm9ihlnUl1VlRdwYFqp03vKLFPyqIh893cPXADwfHZAsJHODu8nQ9bekNcO/R20uHhEBDSZ0hR1FcYDjeqI4Us1hsFtH0laIEj9C7HWYBE1P2hfPNT/Nfbp3uXYdvzXc400sxKgQNuGuWyOLZlu6/r9cWpAqMkBwrU9SLiMZcTpb1FT1cH0Kcwb/oc/VOXFNvTvWLgKt55o6On7a+UPsyO1SW31bRqYV45Iakate66tLI45r1GyqMZBcgK/tXkOoRXQe+sy0hoztPBL2UDncoMOHbz8I7kjZy4dAEfhRfdyXj7999p8b3Vi3YlgxOmieCiAdMV0c6lqSFe7mZDZHjPZ60zjCQVn6V/7IF6QoAintjIZ+QsWety7OMeAjiJ6bFgBK1DBlqLNV0AIbaxeUU97Y2D2azXryYB6mKTOK/ZDIsIANuSSs/BaLQ/UYk+Q2asxksHFHV0XwMuDbeabc5Ddws6+F2qDLhEC+1tKa/3Snq85n+DI47CS1nbPIDZaohUXDBQ6D+LnJoGz/oPm9PcGSI/sv0SXhv62itL1K7ZexbJ7vO0HYIXXBUqKFO76nSBtzYT3K7WMUSYv/849X00Su4P554pcNCqTt4TW0/L8rUQAYVf28t0hCg3VbPJPemUStt/iuulN8/8sjTYh5Bt4xM13Pg5etfJiU4BJB55DAJi1840UZXvpTBWVoPnTPAYI1mqXcC3T979yh35OIeZUdnBJftqDoAbpchxIhVAQuPk7gbcubm094STKFMbRKlnlj81EHmArb7JqwRUp9pWmPUOTlYEb6GqDkHf//PVcEbCZrVpCqDeErJLIC/hs8vZWmf+++APJ4fLaypp5kxhRCO5NtGbZe92Yzeae39dfWnwN+1yL1NlKREKl5XpS9ECl5Gy8JfT1WbTs9VaKPXNFciZTh041GQSE2L/qklyfuTfN9Fm0DyFwyoMunxltl+AFWHu5l/S96Mt23KQbuFIK0ScWsJyqa35bIUC6ovjvEeFxfuQMHaxBLR7ouAjCJu1r9+4T1Ax1Nq6+PaMXcG6p1FYhgvTfN8aUuvmp4CE7W5rDpqr8z6zNdNWzGpwPLseAv/b3Vn1QCwWBENO3w9A1dl90M3sv/n71DUvTkUnVSKSj/ZgFhkTRDBET+TEeoIt0Gc52RJ46hxZR2slTT6+LvLYhk0KwWXz1B0ngWKRf5o1TgY8m637ZwuLV3aYCSCTRdz/R8qrdtF0JD6yr024OPGcHWx/rVO7jZwBbsP9U+eiTHujozjD3ntDJ9pALuKkPEHWwzUSyoFFrz6d3kHEZ8vb0JnrdaS2mc3fkWBoRYKq1BZQ8Y3ptIy2NUM1tugJkbrZEXDYS/nny2jc2VjogBwU+koWlE3v8qukph7iE1GX0E08TeMKcVyRJMa0chEufloTWVp/wUcuA6VSP7li7Ao6srmdJVP0RDvm5DgIs+5bdaUJUVxkdd/AtsNfRzZ4M/aSGsL6Bev6mKDdyt2oByL6Qn2N8ZMfjbkxc+RE4ZoWcMLqz5ZHxAMDIQM8ddMYguCb90xKySiRu98pX77laxiepjvO/i4oWW6kDKTelyY9uOf8DYhgqVLe+1kvcxQwy9j9UowQsw3mCC3SHeYcQnS3d6pJuVtOWrQt151oJDWzj3L0SwvoJs9uDGSX96RfgzOqDwVFZbZUDqoHGH2texGBtnNiA+3uVXXKuZ6r7ZqbdsfgyUc1TYscHh+7gpKbBoLNmEyWV4K1rowl9VBJ1Pjunb/7dVEzTMmMLpOwy089dTsSkRQQWwo43Lx5p+6fehFYfubfBhTbKTXfN32edg1yOw84mbJENBWhJxp1RLxmkcytGRUIW3zE9nUPJyCk9y5WHVmuXKNfB7PY7rulLb0OBWo6EIsKQyNZAKknUpuBSpvwn2oHVoPWy7VG60/oU3GezgJt0WoK+OWY4Otu5/FjQg4dCe7rSeXc9Jpoj26UNWYgbhm5n5Fve6xzN1sBpXRsRKwH/udlQROeWE+6QR1lFF3s8szsFuyJxmirn/Uxp8k6W4/bwVDebaxNyAejiQKqg+GGeL20RE2eEF+QBNjASctFiXWOf+ZRcwAWgJGh8lH/uPFtenrQGd8OPUm7+WdfiCxHZHWzALr8p5QC5bNUlHi8OnIs71OdPYMUPosWwpnko6KsinfvKqBzhYslpYkTyvVkx8ykNo31dz4cNq+RMP+2fRHfjme8duSVeZwBltywQL+amOWaO4k7Vsc6MSEfblAdtkgMaqBEVBOQ738gQ+uSvV1av9V8EnPXD5TVYkAHziQb8TM5irAi60yKr7l7zTUTs5DYRh6Rysf0RuaIjekTETAquig7+1EosWcJmHr+DciAj2/F6ZCqe6Kj990IdrWkmUnt0MThUbW0zcxYk6w5Jh00LP8jcxAWOpQAzfTlOdgu/239sUWoNinHAQvuvvdNWvul4uJB1iG77eQ1yHB30thLCFuzTCbEhHcf7NssQeb6022Omv6v+kYZBROipzsusjsQRBxHxUJkMOFJ1DLCSqe1Ts+03aivWlxykJFftw8L73BO+/Mp1TES+c20gT4wDOLEqdT2i8BrtWPqKGakMs/bvsiM7cKm95Q0ClIRJeDtnTkaXkTYTf8zyHTr6zirOJGRqfv9Im8ojkzJMHJff9ZVxkv1xK+4VozMrKup1+CCOkhTVwAP1glqFj52OHrlYWRWJ7yJWvMIj6PxhOijGEedi1KDBDA232C4/2e78amik3jheH2zSm5zt244+hE2fxcdO7QQO6saZJTWU1g8CpMRfTgeAxaoKBBzfbXNnb89SG15zXD3fx8xj4DORYdmw/XdMFHaFm94b9QumhCxjG9kwDobLsOrL6+UvyiXNioPBqF3w7y54K5f6DxNVOwR+E5w2PucGJfJE3R8+oXH8/uJu2fKR1jaaVhlQP5dNZoT4gp05Zs+7zEMcmmycyAx5I9cdJfbTolFcLYC0d5jbtxD/nhPepZQA1Te1dItkrH86RQse3qLeS6h9zzyvVshNHPhfw/wTgSQRJ/Iga3ijO3C+n4GLflgaPosJqBLqX4xAsbAnhxwcet79qd/Q/cFHQl56CBJ3OmMgPdIk7EM8GfqaOfIQyVzt9sWA08BAx6bJVf9DLJ/yA/Kb2olSTQqRIs5lrren9dxXr7pzRr6mY3yx4+ehkyxlvEkp9ZVys2AW9tF3Un+tXIHgtybvgu5d1GNwsMydXrCldnj3GLkSJmIUPMneXKIvfh83q6/5JP2lfIw250faT2g/nRI+A7hS/Wbf39HH4+wnuXfHWdAFpIkf0Rxr+xnXYfFDKbypqqh3c0saY0kfNIXcTg0TTL57cdKf/Baevs7mpf18DhwMipvWCaWMbaQ2ouA9D010ovuwADdMJ+c29rADPu8TKxmzN/IxhCGotZ9ZD/bPe0895pdIzVXkgvbbOdjQ0H2jyBnm9Odo6gbDMxE41W9Sujza58d2x9pNsa580tdcErf78oRmXfhhQmvkZ1+lDsMVBNvlYE2HvfyWqScZGmymfKUvlZhZlScVHS/oVutKQqQgm4lSMbtRDYAOZNvLjeKuh3WChfRX/XDwsJW0EO1GiqiZ8y00WeNrCVCRvwsLCUhOKRblKf+1jhXRUtrLgGxVHHLrVAk/vJCxz5PYGdbBKj1raipSmZvmasfVrXP5TTYc67OVeytFAz0ZMsbw4Pbaulepp8p635XGDvSpooiMoPY9dkGwqkBEx2YFi//0jJh6PdqfbXrf0u1cdb+lDiShx7KFGhfwdma8WfOqFPjWbfOaLJvN3tz6feN2x8p+0T6kL6u2TbcG0RNRc9PfIY0M3a6/TLPV6BAFTEithz12+LiH5KrM9kWEUpkjI+llfsWb1V3+Zr4Ek4y2mwAhdHG0x0fQ5LZDzhXh+RJ0/unm1r1e1rx4vniqEG6bxz929lAL8CnwwpADiwdVxOuDO0D6mRPxKmRr3rahFF7yvw5ZrKpwt3As5i5BvWtYPid26nZPzkogKX3fp9zceDKX1Re46GhWw4OsE+aHblZGqYyf4Ldd1jMy4JBuWCRTmPSuiCuJpl9PzzfTnf1Z+54WP7j/N3mXaUx3ljtIwBnZfNlCiCT28rMX7kDalSsH22GFUzQMpuGRbb/6b0ZWDhdEKYcDAfRhK4Cxp2hEU7ZwxQ3TfsJsdNF+aPljJ6+oHDz7iAEkiiw07fmsrigsgD9T18v/EYJWOMH1xMI92t4/ALdOuWspXLNG326xdWz1kBYLvq5drv7ENeknwOSwfqxdo7epYyR3dukNlYM2KE3v9tRqmyI7qmledefYhOAFb0ZFOoPp00GGWG+NFFcSDdJpvGgtGvnwb+0f7Q0oIuT1wChUOc9UguoVwR4kKSKepzr0HgvMr0ConCXNDjUhaQYV8MzcEV2Ex9+k5CpMTF6FRXEkfCEjKMREUDBRsYHdVX4m/5KBQhmesCyLsEfOX88iLwo9tGGpw0PlaHMjjw7KJfQE3FtBICjue7kGVSoqVlvkEOj4E5P6yOZYo55XZ0eZMb9axpNlmCvLTrLC8bOLTjdHrjgIUFMSxPnVuM8ht9BZhIqoNZFVUoqYbmPuPErz6g61dQ4f0iTJ+mJSgXc9iiWfQ+Sy1NQG7Xt3Hxv441SvpB6Cb27/npr1mpwT/1mjjbN9jnOMhPel0XarTWeu7lWim2HIKANOnztuQHVbed9WfNKtZwgTHYHU1nRPVOTyK97fvnnFsiOdbdTwMLe2DEznoG+xeEk7K4ExmroE8jqMDYNEzerfaGXS6PlIO7U4IBcQL4yP2eI3VcT+KEGqWopntYjti15Nf4idLxPZoWVfe1hhz8biAk3PPnk37uyz3eV7y5ceY5VPxuOzfrDC8y4cOs3FFkm/Ue8yXKDlXrdMZ9fEHn7MNX32LyrMbocWGfs+A271SvUS2ApRIPMitcVsm1Ho4A+OtGOoCCFlVQirguNBJe0Rr+p6J3H5yR92mIB5nGibeXtIqbMOCMHkg7eaC+GUPznoZnU0hkjxC5dhdriiYX+J3LQaKhwnNm+oVWRBJ06iHh+ovvRQ++bl3BBFdU4KtBIVNV3x/iFXqsBzGE6wrgDIMmYef4wDG1aHW9IJQRU8jg6RwAHrgAGS+WLzv/BKHzjwYlI6HYIz86LMIN9zvwYSznckO6GsfnsfglLCzwpwwMlUUNXJAmWnI3MdMZ9Kel71xxPvN7hML9h/tnnIn0a5UYAIAejy9QuXXScZkJE8BFkPi3cNQ2SlXrMWoti/iuiZne/Lq48fKyPWWY5OP+6xb+XuGpkSiXbrCjBLifLFe1tUHoQ53/QYNTwo1EP4g3R9IezKv7v1xqA6ycxWjJVKpgwJruYBf7c+XQGhBdxpmuDMWwxXxfcP9WYyKi7mUCoYP9SCWrYMEb5YXh0/hY/s8aVAIAO0ug5vQNPcgbyFhmeUDuYvG5inlnu+np6McRiA3VQXnaqjjLLWONCVJLtm+bY1Q5DgkF9L5f0kvZEAy8f217Qn47U2b+wPggLzCG8VVu9cagWozk6Lj/p5KI8Ol8rrMqDrKxJvQzcPxAAnpobkquXpYOqrm8+eJ+EUzxdtNV7H5wIx0c4LDGcBLeZdIYt8c3JKE4AFO9phnoHQy4T6NUhVqHj+RL+kMUW8XahnRiObqjxgiU88vY8n5eWHDRqC3A0k8SwAK/qMC4pqGoQO6GswNXKkyE7INhn22TednB60fA1DvlHF7w2nu0zM9qV1upPLulYbclPOATrz8jr+UaZ/ByqxdLRE2T5Zes4G4bFVoPEOME5E84scIjWKzx6CQzQicTyzEASnRYc28oUbYcNLF69C5MKmnTEyBHTCmeqIFUTZEE+REq/6wgvjWK8EglfJMHhZuW5FpzYxBcH3BH22TFA3thjZ0zkhG7pnSlhBVGOexERVMafAEHv1BwvcF3a3O6dFIAukkNcYBgxnClwZc1PhEWFRYe9xtisjHyeKViDFbrX5pF/hRk+MUoo5g2mNgIToFqoFOEcewbMuvP3pm4b1XuctI+YHJz+D13NxA2uuJVmK4seIj+p8GCRfAqVHknn0X1nyzNRTE/yl6BWjOf41dj9ktKOTJ2cUYtJBkdJe+WQfJ7OGXYQJKY3/MA4oYBPKwkcUN6liijdfyPmBp/Tbh2jp0y5BeieEv3RSUnqwuLtZwoC72l9HshlwPA6yH80JdY9wE+AgsX+dbjEjdbKIp7iSA9VjuBhvh8dopOP/BoAH7DftBejEB1HeGeYQCzh0Xp/h0ek45tuYUtKbRCufvBlSje4tmdTavgz4K87vtik3B1eT9CxWdxw56LTuyobizRO3aG7sky0LfcOfF6YTV3Xi3x4IoU2Rb45UHQiGxPFLC0WhUqM2rwCjICacjoJDCBTB+cpESPMcjtSMAVceuIf677mONf08Bm4xwaNJFkG/pz1o9vlavU4PHhENlU4RFdTQIuwAFq6lYH5YJx9Xc2sWZ9lILkDP2yqnWEoK+cjH2bUg571+ZDpHobvlghuNLy636KtTreer1tmcRmay0ilpIZ9tjXue2Z6FYV68fq/8rnmL1/DtCnJ9zn+OAcFDB5LDmwUzDQ30pNylJMabsIesTdC+6mca2PwX/dMLI/iGBDtrn/Jcv4B+myj8rn91544OcTe/FD3Gd75iVqX1MddC8bc0EAaXWoU9q0xbNEZIzAA7Cu15DDTrGZ5iRuI4+GYlnydIrrmQSUVmNzTAJWAnTE0iB20yRdXaoUb1GcqXGTGCrVk+DwW5m7eGFzf7bzKoVnBxqNsst4tUDta3QC+IxIUAQ2L9qF9oePegr3HBIhM4850v9YzCzqI33kuuAGwCP2h7dmjceUkgElih+BkKgQPvRBMzR5lcSWUWwGalOwF4ZbeUF7K3ZLTOZq1V6eKa834f+sWRGK/FYMAgDlYehKP8XgGUwSR0p51KQ7K3RCOcKO15eSF/+Dv3IM6D/DHJy9SlzybX0GbZJURyKdHZznL96n2IRQEfuAGd+a/i5wjY3PnpTyWzlOYrUcYPLKJ9noP1Cr/bRYT/reDUZuVMefj55uNdUGQ4p5FI8E8cbDMFtCvTXY98M09JrZWaXXkK0YIEtx88cdPjy5m3uhuTb7Py1082edi/KveNpkeK1SWvIwEvTMfrXK+2H4+ZM1oaK1p1IEvdnVySDkLypd/Skm5fvpMFnV1dRqNcxXVBog58+hwQZvwvgTEHquVpxWzb4RpzcjaiN2RftPEEWELp/AZag+M4YssL3xPKQOy1+txSvWj9dkgy24+hMNX3hhXpfdRqVUP73JlyXZyjJ5nFCDpjjAOfLbnPHcI5fHP/0IfHLrGgKvOClBhj4U7v+O2D6fy/0mokVZPEk6IoVqHqVtBpBrxnjXtJdG95/TSbqahkyMx2NAOnIHIrRU0ecjOqSWuHk/mFwN5Xvdas6GjXpUWYkm+8HnxxrQhha4Zt6fhUYHD4qWAD8sITcgNWXOrhlIx32uuP+TO6u1FqcAC+Vf1oN5obgNo1NIBjUfuvw0C3bynDaWz/eSfnrM3/yystCShS3zrYhoTkqtTbKEo4iBM/DirvqM2pNPDQxQFV+nQv14ZL4AvMuFx7sQ77Oftk25ltZOh1Eurkj/OiZapgL5LkNiB1xXtdBuke9BaDxXh+EsB3zXb8LAvrOgcd6WypjFqSybrLZfjSHoirT0Zq/Ln5Yl3UUNHT3DQ2uq/JRZa18QlNirMsIH+/PSnY34hQoFKcXeRa0+bHyk6KV0meMUepLpsbaggQJNX7/qnC/CDPbAewEfpQiMtOrMQQ7PmsBGEqm6pDO2rYkV4FpAnpuacLda3xFl96ffuuLShhEMqAO5S8cKYANCzUffHULD19KmjJ+/BcbUkeBlkkHCE8e/BYCg7E76iguTztP57zqL0jLwphqAEVsyxoHZGe5+2KEGHxiLn6rWqcDHHUtSVFHgvk7l6mKTcqXRbvobZiorWfzPjlIIkJFRZF8UHRgLwaaEKLQx1rLG5MYPgLnjs1OAsMAm1Di493vazgFSI/QpAApeZ4cV/61FrhF2UDpVuxAZqxjmyrS+kqSu8i4sbiyBnfMrYVJ3f2mbIrYEKehgAkHwPqFTjh6TcEd/jaDV2HZa717WufaNql+LtjqB1WBBye4xLiyZQRwqfcQ/IR2mk+e75Bs91eUihdWbwx2skwk4bq8p8ohvo+lCItTOAiB/AbkozOO/nenqLuMllyVLVIMTGlIWgRP5sc7lIuhZjaa2sgBG7lPoHIbqiKxsqOMJXpmhrHc+6DDO9BTBFoGMaZWJxyxw9Of4n9NKUoqHA+cij74l4/IGM/g6Tx0VjQT4a+d6uhSXzpOZIANe/gqJl2cRnMBYzX4zzRMS8fWeN2MmG5+ocnWNUhFPDPNIdqyaE237yK1QEmLjZFt6d72KmgRlnKz6hs2TP3Fuv6e4HpXCd+K5n1G63Sn/ESO7jhDfjz6Y3KDz2tcGpVtj74nGzYjH1C0DRxKU+Sa7VfeOQ9Da+YNBfNZ86pVsMgTD9AgWcjNgisu8nQzKRAMAk0E6vWlhupgJXUz/6UlJSyBvYxHTLfU5KsUzY3EM1vyf68y1eWb7pwEABJoBI0uv6VV6uu2iMN3TvNGewgXq+N0a/fhKCweSs6HQ98OuO586wgpRW4ECnjdXUUSk6Bcv6XzpRoPvjByuiEabKTXm0/T7lAoYv8u4gcSAqqTJC5Ct10AaeoWtjh1qxj8+dMPC9mAev+pBsbuin/Z/SWziEK5Vts+w78aeL3bnkkB9iYzNxX3pMvcPMbhe5HDoB4cuwYZmNhFUaV/yxNZj/8PsjqOlQse0m3kGylyvjJj9R6TNFPBA8swZ5OJeG3jgFeLKMiGcdp6K9vwcgMf7kJmw7KpsLBuv0oK7N08iv1jAPel0pDa8mi9LnCEo5kOF6YgXFW/wXykfSSAuWVZLEfyF2GccKprJI//y4hNoR6juUirrQx9GSGcdYTOemqHvCA5BNbQTxttl1k8aXolQ2jpuHKtZgFhKG2TcpMu8L2QV+Gj6NtRTiD7X9NThNz7eVOjHFcCqVTQYLGb/2f/wW+4EUllRcVR4n8cMeUw3yEI7qZ10NiUjljzs5fPeWitsSBfYF+vQU0uT/nS9U+cMppYcBNLsKPPfvUNECyDDQkg9dcFTerE6sthSMH1Yw8pFfkPtCYmib5e2Zx+JsSKJUb7/I3SRrh9GyCyN1X1S1ZZ7/RmsQ/9wOSOsNRUTHOjxDPRLaE02UJVlI7WK8GagWRnMXJQo2Oy4nec4M2lqf3cpCD6r0SP/LrXUZ4olYNZr/YObBH3md8dNLpvm5pZzBlsJK02//o+Gq2oblsND7NE38NmZJ3xp/fQ0soFkAjI9AO0fDvhZcLwWQs3l1AhhqYQhIdGh/+5nyD30mBiHIv3tBCzuwzJoAMeNTW00kS6BqX+vzrJIUXfjX8rNEmWnCMbA4ClfgiPTzklv0reQxg1X3I3d4fmZjTVJR/AHxXaZA015MdrV7+rM+MSfJxpWASTE++bmUZcgTA70QCJH6XWk1VgQX3Yr69W+w6IFJ6xR16Dmf78dsOJ1c1EnPQRkoI9d1kAVkbzUN+fnVH97twQ3qYyIKZLcH5JAT1NQ8NfH8F8Sh1R0/kPIqvHkNJ4UiwkGPnyMQyho7OFTsZgTBR+/KLZp3RCHOLK5FOLp9peAtu1gX/pFF/S24DnhNhBMvQft2qp9SCk/hMa/aE6z5sMHclKiIrZhUdEEuM7jMvZqPQlHK4XEq771TzJFahB25EU+6Y0+RpuFwMLAjbfrKBgGnwuLHFpBM1pLbGSrWCypcMqkZX7XoXRIc0h2UXNu7R1uCDa3DQOSZAtg87ibu3rlgFJ3q//iS/TP2dIxTig62aa0v0x9aF+vCG2VALSj7WU56o6Vg7yqa7dSyqpRsQDnWEbqsHvKvvOW3EjBp91mTwkVPVTssy35OlNnNgu4CfCd5YG8tlpG7i3cixA3MLjyb+dvB8Ji5J26+ZS2Gr0zodJ1VdCIRufyjZvuD4DFQowy9ypP/147LGB+WSKWHsxb35hLFitHFLs1pDeDJj8s88dVhQj7+1l/mRQpHTMbmKb1xw9g0MsnhvVuPxnUg4iFfNls3+OzD1EjMYOwqRX3RhjP7HmB34mH/ZpdGX0gvy2UFJCtqwPHoPEiPzRY1ZJUAMXSgpxV3QxfpXTeE3qaWO/vVjOTOBgCYw3miZGFJtxGbhNgkVRHJFYqVGqDh4fYTifgzfrZNxgZjlPYMruhXmGlmPGPRiMQic3jQDdGs3Kq33E2mr+6yNGlvv66S7alrIEcP3YNrqdac8Vq836JZG8fdIUUhYw8+k1YpS8OtifJnJfPjG2tMRqq8Dypf/sqZxWDy89RWxkM0mdLwAj1OHeW2/xVDRgoZTuBTOyUdlr098We7AHKjjx8seO/8cBnp5AKfK5ftH9KqKncyQia6KubDvXa3CvG7gOr/vMqSagThhBVd1wNSTnLOgGxxg/PyIPUmhKMeuioWl8by8oW0rMRLgXU44wV9ZiJDyhnClkhaznv8ErfHYCKUqwNX7YSvtsvSETD+fL/rp733blskOmEUxBuF7xrZwuawvh/K6v/qSclnYvCHTYQx2taAWNFgLMZXJuc5wJcLimZrCNcSDx9nej7cEVFIK7Q3fwyY1EU0W5emCPXyv2P2n+IbfNsEnvVV+hX7BR07M1tPpyJErkR1D4ivJyH3WsjTnezxotUZkwRz1kwzUo0/McVOGkpU9lbqOT/euHRbbdOzzyc8uvy5GEmXf/JiVj4+Z7eTTzmBasgDRdglFwIFkiOmUKocDnrxxqBxcwhbWSB7nBa0I5ANbPTk+mwVrwUASIrbmAy6vGO50gxslMns68aFuPXwogHm5EATbvw8ytxd4KKB1865XEYmSz4putZuemFluvmZQDwVCjMypy8wH7ERTju3V5Ps94JU+WQWKyqqFTpe5Es5Dkm4xulS45VORmLptbieFtKPDIOBClWIFrPZQFaWcu29zjHok8/hWjFr/N4Fb8jxFBN268iYjcG12nIlWRQjPaTtRak+CKeu2vmS1FCQVhv9kaVeOcJ7PYXrAPT3gkdgNs4bekvRmbPdgenYjcrYtUAO5yefTMCCgyPczdL3E9QvoAWuQLqMz7GphoVypP5Ug/1n1AFCOls0ulsAdE0ExrpFiyF0lwthLyq9WMfm4m2/ZOqZJrnkUwGWR4lBh3u1NQe2zXmtO4cCGFzsBbf3gSFb2dOWqOlKSkwqqaqBZaraLeCOsT98WKxCtGD3wfgh7uQun7sqfx1gOcBjkFP0UH0J7nz43HiXelG3UOhCKkbPc6dQWVOyftE3yPfP+TZkFysr5enqHLLLvFlSbYZrhfD8guB90c7thJv1vrV4K6WGJ1WDSpxFhGL1PD90NVW/FeN8DriQuyLWCuhM7uziN/VZOwZ6om6cr9DIK2AZHfQ5do2SLsl79ZCDjZRSg0j4fyoi7JOzcQC971iYTyFqtICgUWNSsvxQkm/k65aRNLleb1aNQ34bjvYB5v1VBhwXQeR9u/ZRHpHZ4qDUExJohGEPq41avPFpZpgei+3D9BtkusJVbhFIfrnD01CCJRmyURWssgIid81h3w/nf4jTrAAk/FigFOCpXXO4/zYHcWIIW8Z0QPJ2gB5I9MnwGIJKDxEFuUZ9GwujZcwjBl6JbvcExJUKzx9upTGpU7D4Bpn/2LavFnKWiJEiomhppz5cxder7ibTqdm1SgCVZntWq0wiakIML05nEJ4zLTScnZDFtWZ4d4gNsyaOGYQgzaryLEbfvfCRnCfbWxQnfDO5HAVbSkMPdBfdyGPTby6k4444boHabXNHSP3Aa94ti73ybuG4fJViUpDINEsNHhS6l5JVEfrxntMQS1gkDJPGwyFQgE12wgqQW5A3D8mk2jnjf1MT+/lV4h9Wn2KttzJSyNfGIPM8ac/3YKRF2cxlRUiBOqeBBiaJAiq+PyMknPn3fiRz0XIB1d/jsbIt2rwsPD+nT8NqTT/C+qGdudxk3FJeuIxmzSdGCAfFHf49FCApvP+SXcIf5JHd31fYRlhMaos3YmQhxMAnZ4n9dyoUqfXDffm16HR4lzJW9v8m+A+p7nTltqcwa4yA5yNJ8Qstt+7FsiaBkxUzl5POnjLBB4Y7KJw64edzyWuM1X+fgLUYQrBu+wpbpzSo+3U6/NPrkQAxeJmuILQD4KTn4Maw1ANv8AtAu6Blihj9ALQQk1lRW1kJ2/Lp1m5d6ud+kZLeb1q+5p9g4H1hYUu6VZvtkRZpNdjD13mxhDquv1n6/8cvaMc6GJC6VzrqQrQVZ2aAt+qAd5moLVL0+CiE67+c6i7o8pwU470VNzKtExue6d0XUz99rTi3lqhbtFovtyjobDS429WC9leUysM5ciXnYwAShfCOXYg68Xd2pUN5ebe9CNjQ31VTY3eAxFKH/zTmEXMi4yBOok7+h1Wqt9+we2bsmLBGVh1qr8sikO/cRxu6TN5+pfx9lxFEQMJs73DbILDbiK6BlLKAnvK5P1PpRvtjKQPtGBIjqTBo811WZh6U2OgPYWOopaTBopdmFd+FPNX57S33+dJdVr1JAkMDQvsLAVw1GBxg3vxke2lT4i7hfAsP+jkoOhOWMUigcpDZCxBhxSrOs9SLrHyktM69wz/JC5atDJaehiKSW75xmM/b5Vbx+98wo4z9jsANJ92hHoPsWP3BPOD6Ixvs+L6dPYo8ZHdwfY0JMnwjW9cKVsmaMYtpB8R+uMqZTLUc6vjWFwFI5/B3IU80P2jUP23OU97WR28L7H2/uPkmeLLzmbaKdyLpxeyJbgdBFXt4v2ykfQGHhv86+hyEHkrEPBKryW3iZm+ISOHgOQN5/WX0iiQt7nVaLTWIxrLBJsNLLjbe810MIPg7zS1rQMuU0FgjN1Lf1k9jyIJy9NUgGCB0FiPOV6xldSZyRRDdBjVZuhD3gIFBMtyWiL01Htypgm5ZZjbHxvc+4kHDN3GXzBiR11IEcyBej3Z0SFXBYLHkWfJ2gyzY3QOglSROv2fzTEi+iP8tzw6q0ix8NPR+uC4pV09WyJHsWY1BeuHd5sYA8Ak7Cc7nZrfcy3DNqY6Qs1Wy6sFih2BXC4DIaDpWOf7HUrK6y09TsIc8SRuxhRQtxTCHvotFTKJa4ZgeOW7VQp69bucbSgCxZqhqK5B0fYGCREhpkP0O6MtW9WBZibyp5FduuzMSA+EcKPEhrA1O0RdPJIBgsn1Vwsw+r+fNHA1BE+t9jtz02O/bn0nh/LsPQ+vxIH2J68/yVC5BWaUt8lATpq6EDnyNflT7dc2t91x7i6YrFS6yhnt8nXpvsWoUJWLl3MEvwTz2pJLeK+y7HYmRb4Ncg39Kl4/B0gqkfZX8T8BiZaYkfY1WCDtBObnSXWqFnkp4uN5Pb3aqN6YxwSFVm75ugSwtsf8ZO4fBzWFXflpb1p9QQdaLSLtfdtl4p7b8wJdP7bpH83QLOVw0tRLfbnyzKXDj9oqvPl8prDoQbXShOR1/0sbkTW85+cS337fpVxku5gVpfmY3hBeJPdnKNpkuybnYtSPVsW7487t0ytzFkTSo5lLwYGnlqufts5mkdqnI4yZo/MC9zu1oCpdzBK41/6mCX/cUiacz1wU8W2z+adeaPl91FALXOuCU9BG6URJAkMmKGAFJ92pw6VNcmIYroh6axlbGk2LrNc5H+sU4BmMb4rSYlgVJgJENRouyKUEYY6Us7atqfE1kEvwhBJlkukek9c7mv4q3MEH5v38APaeabT7N79/5r8XxTsiFc5ngQ52w8BbOWjNhpz4Q8mq/gA2sDtZFJD2jCi+vYtzR9pdo0bOtIRxIeQVfMGugFPN8Y2BTMiV3Z2f7jZ5Y39C7mipCszU4zKJvcp8Orn7s4ZYUMufxCYuzjbcvPu1mkNNEPikcFN0t2yLDH64mw2etPmNxH7G1ARAx8EmLmju+Uc3EFp7tPc4gq81Khxr2G2fMOkqzMzp7N0cGJr3EaoabwTUU/CXsqnUyCULS7dZZV8QVUuVIrMVDs1NTyDUGnvTXk9N8pKCKWAf1RYXzEkTFl3svkl147J8ItxpsyVCTsPH3pLscu6QlJ7pj+tVfKtObDGeAxZxWYaN3CIK8rouyLZv/itSPipgeA4o3vcwWdwLnVwukk5LPBTYNySG0Y2aZeJkuEjHChT9sQgCP8olH8dSvvGWa0YcsYLJtNvUKgHJ+X2+rZqjrhQzsf4KzCdIc0Ae3LFQyyIyM7mGOXvjeI80YSthYdhEqzICYPKq1QCe41BKwbORNrqIQ8qBnr59BaRhJ6ImVXEr02ph7XT8xpP734IN3fNt60KnmsWzU9xLbcy99TXzoph3JtOOGM9/cHKNAkqOVH3N49EMLQIBZmSTOyZHvAz9wwxjs3g5JFyCTqZ3g/2iBOB7aRDbXkBwkrRSkPf7ld7Tc+02QLcTsicUTUeDYMQOSgf9fw3wQxt5lXDGNg9amVDqGCxKzhcjr5J4J+0dBZc+PdjE3jJn4neMS0rjnodMWqfxap0XydXwpBgnQCx0UjIBPkcWcgZUQB0RE+Dqgb2Wy12TF1uMcVi4mSeZ+i9XwYrN04sNvJN4fBL75IMgnWN2BX8wiJkRHkXWnJgH2hQvt9p3M9ALAiOivSj3pG1Rre23vsDlu5OMkTj+7i/V1O6Yz+CwmALZ9WHwbtf34thY3tt1tLa+BH1TIAV4swUolko0pYLpNwr3VkclwJr2Mt9Kxpsi+hpE5T5Uv94ESWFsUu4thDviEgdtl4CDnXXSmZHypme6XAdMjJajNfdja+jzz05KCUmkxap+paS8NYn9GZS+wxwkKhAGMnT6QU/Q6Rj/9sQaDptasSo4hyG1vMobCI3RIJMelUu2tEsO7eAPRlsIwwZfOSEzMw0Csl0uXnekgpY1RLWfjdvtTxt2d6L7QnrJ1HFvv6R5Vfh4id52eDRAU1BYDkJUesvHp8OQway+L1PJh+S7uKhIIqDfgR/FuGIZjTGcBKfwGMABb+C9oX8CkP6fOOOOgRN6vVasjp4lj48LZxGySLMOponeY6sy1zbaIvjocUPb4pWrkMJkBhItAirvzbbNrg7tcLfThZmFQJgu6urs4vhxj6bv1crJCd8k0V0jF1c8glHAiU1a3HC40ExMvN330JHQmaI3y5xvtjqH38qRJiqv8JDoTgEvC2iAUsh3FiShhJ/2AYfKSP4Y3bBlwA1nFZk0cpooIN5NmTqnnhiDvNDK0+H6t51TU69MJ7azZG8W0Vlg+19IOdWYs7kz+tOamykOB2uMTZOSqJ0JMerxUtZOrAYi4lksm8Yzm8QybxqcJNHj7TFdbHebfsZUlTEcqBVQ4xxPKWAZEQJ0EDD/CJ96qFgM7IKqvOpPMj8Z1lNKTJ/3EVUFfBFyGIch5+Aw0V1+487cNspSxZexP2FYL4tHFDToaqjUefsPbbZO6NxyV6zwgxo96wOmvn0L2UIc0yk9Ni+kwZy4PcOLVO+Usl0/Lo/k6bgTBxQEtV+2HE8mnaxhFP/JH1RyACdBMsv9lidi9GYljsZAnkkk59YL+l9TNdS7ivXD9C42pWbXrs+H2HdtGzDRhtejdoVujx3/vHQNOXYeFmGB6BqWCUI1VEzZGUm4LxoazorLgnwd99qK0Rxd7BygDwOTXAYtPgLc37fNjvY5ubrSTpJL/pX2W82PEL+xgQlBnnf5XNoj2kMH5uENzH5VYSnVdZVEhE2l11PXwwtfV39OvcCHlsStFPl5j/hYIVvs1pJduVuOciERsHqNkatHD9NcxL+YeZG+tx+xDVncAROOWvVWt3lqoUxrvyPUMAzzC/qzZNXCeBPhuYUgYjWoUh7Yd/DIG2k3OcgwH1H8uTHkXqcPDFXPdiVaBEcAuIFIo1V4czbXgqvF+iIGqPPFHj7qFnm+GRa/oqVGX96AMQpi7ix3sbrmrMdsCS9WrQ45LBzGYK3cZrcGjR8amAf100rPhM9MCTSKJifSdkNBRwHbpxt06YCaSsMxMETmHDZkp+mpsyzDco7ue0Zv8xaR0z8ANiW5YwLJXegV2CWCQm9c7mNNaJkp7KzVOPHwQOprTeF+jTjrastY0T6kppCu7osld7fsxK0hUjva5nc9UOpZTtf9nismv/sP5NRdm643LhA9o9qOPmjNeT22YC/05mADy6UvghO/9HvFtkchZTYR8dxXzklT5ZfbKUV0EVyyAUvCmfXA289DDPGChtL+6Y92kzpGoOkG9jXHW/uUk2IjXeRTuRNjkICb1vCW+OZIhhOb1d3Wwh6lQ60SqEF/2jSUkTW8aUbk+J2bC12rknsUCfis8OHBewBur9Q82y5X8N2vJvohWv30kj9lBUjCcGnusgJ1WCNo9oPDe1vwV9UL08Pp1FO5ax0+aEnPnJFhkYY4fwG4BK1OmQqngZYNoO1yjDd05rrskIwBCZ44dgjMETq6hGqnAvidgrt6v5Bim3YFmMe6sZKsAwEls+BsvKeOHfmlsUqVh8GSwXCNstWqCBxQhyCLcNY824ThMvZg/jOVX9v8vDFkc7q4+/qDFswoNHUJCe7XriwAU3wjxNrNmAso7PJUnKMVmqKaGlSgTwp5wG562FzSGA+LMuAZKRVzlQ0FPKbJMaNYdpB5o0/aBJJw0czxMnizCGHu0c87xkBVISbnYN2i2hiy6ziQ5oLgV/swcnBuyt9TSU9S09fvvwszvb3Z03CWjxNu9Vzl9GxHXGj1S2asw2BxXTLonG05uKL8qn6FuFy4MX42S/kVHds7VlU2v/RcGtIV8QYfptlKY/Atkl+FbLQbMTB2hEAGfcKe8Vixr5fEjSMsa1Y4B2pw7qcWbGpb0sAvLdOkvc+QT1UCDbAS4iXGcN99syuTU9mmt4SOSNhd0Net+nT11xXjpPXTUN4cVOLhGvy18weF6ecgqH9FlAH2esc+ipdnz3Lu7DSyNuEdO1WYhcbgisI55xyCpVEOtK34tT/P1SHHMPHFZkyiLMFl0Ql9zRtKqRqAbjlF02B7PmhiVHESx6iGejdRrFVFokj3RHJL3JnMJ2ZVJNLU9tEMfXaQLDzPRwQLaGdS/hRRp36tG/sssPLob6r/d5ZrPjPnbTmwWZaOGKqRTYCs95aC1lx0Zu28Qei4Pm3nzyAFPd7IBbOCC6M9sLNhm5VJ+uxjTqskghmVWeYzn1MOqoEoAGAxw6N9nLMIROMB3WPzrf2jtCVdV8mmHXqpmtQsDQq1MmbQwhi8nayZMMKJcJgC6siCrdaTZD0UrksKSjT4TMD5E67/A04X4WEcj4suhUJEMpVP0BwrJGm1NKVioDXvX2u0QTE74EGp+pFTtA8upbLVUo8TZjNAkiVIWivCRSPi91iDDGJKnPmDgAGZ2QBVHk0kvq3Ioolc15abqyyIb49SaGm0RGijXTSQHhfaPFrD7+fxXZJmC/CEAFZl1yaRlHQexgFZt0GgSQsuqiuOXr7CeS/u6WLAaUTJbEO49Df45zPQkYkl+Ttch43ps0j2oqq+DUshuEFCY+8g63UEAt4ak5Or/RJ1zmjfONElL+KoTbh/b0HfJ516f7ffEoLBhKMrlCpIqG/LgEm2qE3s+fBpLR4yI3gqBtaQU6B+F+Zfsx7LTNDzdnAgWioKHDGJDrGrnSvVcLQHQ74l21anJC9rEzYUb1Tev//lU8wgnbs1IWmv3jK561QSVRuBVd13nsJWuzDqxors2pJyOzJuaofDVCGb7pbMaaYGuyTRRcSn5mdFf/A8S9YXET1zjz5nss8bufNczzrLDvMMYQq773Daf1SWgbF7aTrlmEwrEfIW1qMpRWOFTa5EW9uOhiGUGl0b5qTf/Mr8dUSTLB0hV1/m+sZeCUVY3NvVjmO1Too4aymC8//XBRnwUoyghmXZiBYB+T6j5WzQV/LC2vxL896e/8nPZcE8LjEjFOI0C9nYjsVRCupLLOP2VzapKcJsNFWHd/pxQ/XWrOsAO30i+Bj13o28l1y0/QFyC7dbLjrMPJZr3bJsdsPEDvonQAqWC5h2ZPdxxlGvff1b3fCQsQFB3WWzf9QFHcEXZaDoPL7IJHoFKl3JdHGlVrQZb99izAfWdYq77ucJTjin9uzin8UqVpAFz9fwgSz03PkgROd946FEIy7nXkr9xrN8TNZP7KkJCA3dSNeJ8yd2hsN0SkFe87Z7I+5BNNLemCmACVEGN+rwVYZigguFJJLk2f82kmJB3ZfgJ3KZDb9/gL2yIQoEquMC2KsT4mfjTULf8XLp2jO8F3wb6G3dvZeD2WlbJ7xeXmG5OIqIzItrgdQvwv7+o2TD6D+WE53Bm29ozj1db5QdPJpOYSdDFawBPU4NmqS/Iqj7qqryAs78DfbdbJ9pjOHnsM96EaVg1uLWrDBZFY+SivIwqBo14Og9m1N0KD0+xIOhX61Q2O0VrRF/n8C27nS4YCx7JiDb/Vrcn65+7m2Gn9ASzsHdsbaHo8/mFsqDw6pdbxcEO/fvcV1dW4uts+EMfQTPachy2XTNmTKc0KFoAL5W8BGqVrQ3qTySt+U7a639qI3FbJtAN6kINPa50XBCW0KXNUlagx5Ry/A9Dl1xytJgxQU3egZzpJnnXzrKrRlN30Pjavgj20UluSZurHqbmNiL9yvu0Q6Ljwnv4qrcXCX7mi4vOFfA/QXOVDVQjQnuXxLOthsqvKbaiG2Mz2KK8qLvB1fCJT2Qiik1IgKrt+x/N9j9AdttJFw2HCjdK8J5FC/9dIjFk84RaFRj2LdG9gJ/FWtW2Uopmbv5/MkKS1Q/G3BJngEgDOBXdz5PQw38bZiQMR4zzu8jpoSzmP1oYIrxsoBMwofhXtM5waPNymP7eglTQpacBwntxSul8j0vNlNrBK5NMlMGBBxwaJI0a6O9oOBhAXB+i+Eh3bYp66W27CwOwukpKSRw7VVHS7qjZ+oz8JT2TSBrLc4dZiHE8gpb0TP4ghHvDZFppjc2Rpa7cyNkCfS5l4PNf2EdhpzHQGEsDHX9FibNVTxSQL4xvrJyuw7QK7nV7Htqfo9JDPoB7T+fGzP4uvwBDdNcSCxsrrFruiUp+fItes1LIFlKdyC9muYsiomCWHRdyH8US+Qcp9SW1ithvbpKZuZ7TrArZGUEcb69LA2ahKwurbAlwkmwH2A18CknzmdG8UBUcy0TAk4zINhaoNqMvPM0MINVluOKv0933dy++ic6Rfss0FOdtjuML94jdvOp4bSTyZftUeTERVqH3fLhxR/4Gzr3w0ys7Z0yy+JIK1MK2tjIbqnY4q98uQlPN4WZbsK2UWCOUx02QS9ILR0XADRsahkn83bHugeUDlX5e8aW//yelK6uyZDHXR2cp+BkDeDB+4s654zkm9o5E9/aid3KQU0Z4B4OmJiuAyvB27yvQaR1OuGcbUKB6A1+dM+HrDcLxrkA7FeH5YjAc/Howoyecj6xJXAqVAl9HK7K078qZvLyz0vbhHJIYqxF5pyGdCEjttlUlL9GjLH2G7nOv330hKdqPh7pka75og6S7M/pbkms58UKWoOu2iQqeGBRMZvo6A4v/nB7ydvUBwJAgnnE3pc1laYlXOyAvhf/eTdBMINeR6nCHLgbbgAMsHWcgv9U/GftLJMwK3UOKm1cNpK96/EQXzxNZa4WN5xCGaNtw2K5wh1FWhqONKR8zhzN1cILYhmMm3nVz/vyq2MiCxvPpZvaPIdBG5Aa8vsssEwgjEPAYnQ+8y5qV2/FKAkxl4hyDx3Lcn4kSaioFacV+dnM+tdZOeSn55cKKcOkUEnrKgRGWtBqZgwnCV1/CZWryz4ISuV8AZzsOk1hLmlLc38/QQSy63KtcUnwGWhj3N4B9neAAhSvPOGmLdQF8h9MShGUyEe9ApM0gnk3fbuEO7X1gxbU8ZOrHa+JMXd+df58+QK2XLTdo9oIbltmGB9r8yl4lkAJ1UUm5A36RSu/ajElMTXp/dUbTLQnm7SlduUKhc13w7cHv6RCWJhGsg5BARj6MZZnWd7K+tiR5B76IU0MihyYJH6MCPsfTmDwQx6nlW7P4o+FrcqCF3zY5+egOXIfteWeISbREhqSi2BFMDPMc5wicxkzUbQENgxVM6qhY9rkgDp4iuGEPllGis0mSeUyrmUO0mw7l5aAdABcnuJyU8b6RSOYnM0WAyzIBQcjtdd4fVb38R1bxBDe0Q2yg9IH7MUxmkWiqAr4QYMUIQVey1o8pXBefcdyNkZEzuSPzMea08Rp3IsF+Iw1oqZFQCWJ2TkSyOiRd+klgGD3+34HyPtaiYM3dyX4MRAP4ltSQtTuD4+OoMz1w82lBEjskkdDYEwaw1frqRtOWbwHfS/SgKGUfkRJVpob1+C6ZIvEqdvVi70k8NAK7bFEBrZPMXr49jzuJssGhXG2PA9H+3z+9ogfABu8nxiV+eNer2nuRXRzHlH86fSNjdbp3YD3paYLZqvcjXvNCQfL1UGSpE5tHOCgGLQeitfVop2ACFH5OkLBKCQieqT+PeWIonJ4eLw/g/9pnUKIBrcuJH51JyBAcFvettUS0JlEhMUfZQhUetrBFUY/oyvjubBxVCC47iqx5eY5Ap90HfpyNbIoivtH+Z6JXIWCx6KsGs1LkPeAYa2VwpEjGEUeHMcvJpI1+IU8LTIuiZbUAqe7C3fc9YRAmpLYuFBqBADPEsVP4RsRAIw6VtSMe5oh3YbddWpaHcFEnc0rcOHZoHwIrYWHH+CrqNQxrYmpywYRDypRSZQFn64wKVWd3/M43Up6Ld39xNKYNSMX95H/i1GlfEKBR+M073Md58fhmJ+QPxuL1ruDmt4PTOODaH6xLK0lCvNwhdkd+4gBAJPwdQuqierK5j5QGr+H4BAXP6Wl9GvAefr/ptsZMmjIpBG+blAQEH9VqMBZ2OEbhRjD2cTFWQjjNMIT90FCEerncoBOsv9RmleFtju7bSaG3dkPAFIQ8g1Ssx9AlPufixEaOKQtXJzylUBtamYNNgd6yZmOVKTRJO+3V6LBNZUsWUzxfXJcaISvitT5z4TIzAWl/hoO7MTa5h3fUdmTv5pb1eVAPUpcKj9gyfz8PjsorBKFdh9eWKVVtmQQ6F5ZATP2MCw5tgP0SQ5got0Xv0MCyEkzlLTLb0WWo8noeAkk7uix+tRSFE7re0BP0Y+cpeTRo5T2PVO3+c+RQG+HotnCuc0TiFoUWqgmjhY7W7nh9QkzrSkM/vFSFBy1PNVgk6LuZJ3bkYifKuStp71OvZvbasa5KItQkmrS3a7HWz+CBJ9bg2A6b4Xdo/a2eA/w5dbLUmtCw94zFnnYwPFYXMcFiSlidoReIHwe6f76t3mGm4B/8nn4yQZ7g5z8+WwusF7H2+vVRsgMuSuoDXvJ8jGvNGuqHWE3SvmPd8ZVD1dmcWd5hRQ4PL+kdwG5HK7HKRE05f2JUNoK5mykA1W+OC4ySXpMW/gXURt7c0CtbCIe9L8Ed0u4M9e5ZC4E6QQlGVwbwjkm+8QpgebvICHMmDaqOzn3qX8Hllv/uPQa+p1l4qU02o9MG95+70ZalfRVq7mVPOVJB1hq0vsYP/vJF2dRuq71D46gXiPLAbQBSNz+AjZ7+UN9syGSFtn7EarRnRVRXYbj8BzsGnEI7FkNeuoFXGjEV+LY5oG6A4Yo/qq+ccddhxtIPxDk9K4UK1PGHO5ofLwAa56bKV6XUCx4p8KS5i8kNfGWz2hUU+yNUPQw7EYzc+v7QNiKCc8zslIf1Nf6r/8SpTPt5E/WOEHguRZUBkSngBxihAPRbZD5Xppmomb3Ie35dtldgbb1NMklrGZ+HzyfRpdhJh5ZNuKVl4qtaHqrC2NYUoBcAbt24EuDfL3gu4N/2w7+ovqzfDZj9sz27811fMl+XFVf42lBpTho2h0Q4bOb/YKk0ACk5zDIPADizlELmKigia0bgN4PjwEQ8i0/KV9bSyODVBd2ALW+EaaJ+gCUohBK05wdaJx347IFd4mO38kQ594IeMg3XGAlSsTrkvKf2xCJ1HTs+lppHE6xFjSnd6bV4Yc6yo8rEck5LJ8vk6wfxZb1iIEebctqzhWHl0ECEUk6OvVXyzO/2Xf505JmOyMdm0G1zrhdStKCMoKiNMF8aQRLoASJiZW0Y7MGBz8WoVAFsfx4kXGLEYpJKv5ir4L4gl0lMV4vmE4wOBotcWh+erMs6h2sQ5j+sXXM7I7zyg6enT9Kor8sUpAvHnfSUECg7MApCPz1WJxsUG43Aq96Et6am8B8kBniCrQKSGAPlKkiXNr7yrd2IMO1jjg8Vzjf1aGbtCK8lj4hKFauFOYuOQkxnrFr5MvIkUoJYjKsuswMUXtp/+vBlndCmZ+Y+K75Egd5+3RoTzqBi1DOmkSqULuAKJH1r3+O5Xjj1l59A3Xc5+j0N5sRDjLg2N1uNRDh2njAV4hUwcD16oyoNjAl/eQVVgrbB6H/EYVc8j3MpVH6uYKRUYS9xd6Q/whLyfmpuJosf1at0jG7TPGYdlSqTj4H7pPI4lYkSntqtwktXdO7jPoRoTa7ZOpavlQidtRPnrude1nt6lvn6xypCzyJLvUpZ9t7h3J6sZ2nx9soc3IlYv9LyO7BIB6j/U7UEjLoBag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fkTZBRuDSEYURCpRwZNbQ7JguWHBc1bwllMh7TzW6IYDsIybsxMgAZGFxR3HgSNrAEc9LkJdYdKxMTW/nt9Txw0EBGlpKDuw1DDDE4TZM92QydFi+QX44LMoJ+G6w4gASNL8Xni0RYCmNjjBSKNfUVqsL2pgUZX9GXjPgydvbFjdJ2n4fo0ubAd8/UJU07D47MsenECDlsAkNBTVUcxBIFiEFt2dDBEiVS34q2zylucoSL7T2qfaP9JV2Eo+5lpD0mf+v72cCMSjB9AOs6y1N3rGC/TYFLojZtFBGeSl8xmLYTBiBAsNE4aELjNamxJL1LAOuyg8TaC3MjrTSE1rF7sa8II5Uxd4nTLztBbO2SPLgnEDQyqtneprN6iUhymVVIxggQ/DWngsWvLcgYw7GtILERpbFHOFPw0Rxc7AYgj2nokZWxjz9+V9DfnOH0Gk6vplsiJXmRKm50KwngF9gBdHktSafQ8ozOVrAlPg+WoXhJ6C+dP+jOtTQtlQneANJshAFp4/khjFxUDhirnoHu/hM+vu3/rvH/qLgKVEYuftUeUpkJvH1nLJlbth7vY1RZ9GH/pLEduyt+L38oUS4+REu+CxGSspsEmYzZd8xMFDthjqqBdCbNt/VRv7Z4GxH2162GDzc9F5tZ39+hQpNX9lH262dznsL5cBJTFNDphXLBqW9gTXpbmNs025WMcbq2GFPclaHVuhLQ62jRgCPOq0Xio1flyqpaNvpASWEcP0Rq/ujrUNeQDeCIwUQVHJJtDglkrsajPvh39gqVdFWEDZuPOxKFfJAes5v7WKW6Sg/HnKR2xEpsIMsvPh090psMSkzm2inUZvHHivw/ryvYVEN+3CzRn0SfGWYpqV16HV+VCAGpdIExuntJYFS6YYD0qN/bKlwr81kT68S3JRJ8OtLjCftNKfjpUbLwXKoZF2Q0XWVR2Qdn56hifOTw/t+5E9BhisW4prckkFa9iYbnh4tXcZOzpBPsvAXqsZqADpIRFFTMMdpkS4GV0VnJjgKZIliB58qSEWXHP6Tx+tH+kqFjxZRSQ7+BGy2O5Rkg7HW3DPQMhhWV/X03buOKVDjSzZwrqDl0jGD+pDv8fvAFrugwmL/idiXqs9IZ3bwhAhDFmeHzq7fCRNZCvQEF1/XVlTxDNvt7J++y60OdjupnUKa0ZacQ5ztCeh5Jt93b54KqzimngICEEDVEfqDgK96CtgZhlATr5MwfZ8NiG+8vgmI9B+HkVDZVs40Itdc1OxIzk+E4nm+g1wifuTbeu1pBQlWljIvNk9mIWzVYbl3OHoSOy7CiNA1Det+27cERM/D/sPrLOtD+AFVR5ek13RPN+YgIaExfHoXz7Y+Mod417a20RTinKmK+z0GtgBcFMMSl9/zMvBQJ3PHmJafctBdPmP/5nIfu+2GHQFrmA5somhjwU2CXG6lC+ngUKNBDXcFDArdbfYoNvXywbax+0DcjXMy6pndtjYCyFA8d3mj25JA1VipWeC4QciblMOWEk8A/aB7y2jf0Uds/zhEivBfItW79VL1EPvB/Va1bjEedO24KytOOTtjC/javnlh/3xVXM+dmsPmOp22Ymdp/kK4p77c2jSpjJJmYVnUVsfiHk5bgQ6KxvYZpwxSTlEGVQVRhFcMIOIgCe/n4wf2gSTxTrm/pYH1kF2ma4r92dWVHQSQbW9JUm9HXxSaOMb54HsZsGH6BoY/JmQXYUeEFhHDjMMf6WQm2fy9gCeSS/PIEj9CWglrogVnTjbIUZA6qO8H+kYt+1jURqjlh+tbregHa8TJylLEX/K+nyj6Sy0GNVXfRDXqCdQwXZBsM955yh5keS0UDfaYV5MwlK4flZ3iqwAkUM5hAZD1oON3CcuRJfo1tiF+liRGWtuNxf/VfylUjIgs4UbSpSVKFWTbhOOnMofboNKehyL2RlFUWp3IX6CLkYVneY/wWI3hsO/1sEqmBUCfL2XSA4RzamL7Y7RG4mh0IJFC3rPgJ6DxAB8fwpV2OIyx6dFvXtn8Tws7lQMjxVA3lb5ol3ienhs2HPJUy3e3KBbaK4J/8Q3glIzTP8DevzqRcW2OeR1h3n+lI0+xIu5LXKFrg4v8vzPorLlr35gkobhpK/JGMRFmySCebn2vUmLgQBusCnJOW9bXVeAs1h/sw/KwLBwMJ3flWgDXw8rSf/OpxgRzE2gaBHmkkw7GE1vmupFeWE9Vshlq6g0/GH86/tiaoYzC1aCUgOOwIs/lRxBy+mRLmWO6LrtRQlaRi6DoMj5qR1s0WOu/sCXA+IXCP3xQ/stLt4ZbOuLcpPm4mIA05sk44XCg1foweR/D0kvRXKza6IGbrTlNneW2NyhqMN02kZ4XnggOuA4jdbOihqt+XnCAOsFgXtI3K0Wo2eogqzcj4aT8OSRzP2iy0ctHyLhOuxS1/KqwkGwsQozybaLgTYdvtqwm/4l0yqgKnAH7QPY4QCy1SbecHZwFOXOPPRMiJHEkc7iECa+qUIWRqI2qyLu1RHSWa85Vtt95VxT6K9j8d7FCkUP7vSmgWOHcZEWjwGEasI72HrymWcHjJT499fSNPZuRZHWdBDDDc69aCCRfSEd9f8XMS4EfEKzyFQvloy4Tj+UQYI+jvfWn/Xuqw3N5kSxatiXB+DLFoQUQPxEHMTPGwYzpIzPK1gKDzNihjm/N5fPTs4VUN/P8f1zStpoFXrKMgUk0RiW55Vv5DvypFulU1Z8t8pYSWn+yzUZeKyt/M/MeRn6QSTVVuBtVV7o/SNVVZ+U2I9aNtQ2Mgu3JrbpGCi4pYvwc4eww/xF2odqAQCyFSsVPf1ZfQwmdGMfErKJo17GROlrBoAfZ4YaZzbsfE8PsbOx8xGLOzbSH78yMinzcNM30ClPJOEqIy4TjWnPG3G/Scjy7OB7xe9DlbytkioA9wSd7VMOtCyVww4RBEnyxF2uvoEISmytHFt3LKYEo4qWW4ld8kIWjezT1gRwhh1O+g+tFiajRc50y86HlMDSfRyablB1++4EnNmaj4UTBtNS4gYuyrqiXP8i171LOQ6NFoSrQ8ieprkCEWWUHuf5vRKNrnUCp3lgVaZt5NHjIBGttQT4+coPaMXG+5e9N42QsbSbdd9/tdinJzfP49GxvAnNS+CNxb/mHTshDB+CO5StTK751fc8LJL3CC/5GUXurMG3EcXjIRQ5ztCZSYd90blgWVXgz3stvhCIgZkfcu9MyrK/NhEFXwJ1g50NqD09kOGMgmGOe+zbRzssaNCtRFjvv2smbSTbZrrISlvt/qp1A410LJqlHPT/N4prQPU8I8/kuQbxNEzY5XgDNtgBh6amLYXxblWTPvhWNyA93ATj2Rbf9tdEWsbUkAi82C60ci2sK9cGQfUiUZMnW/aaXJEq7Vwjrm07JfOXyJQHwhss5IbKzx8yOOgTLMiot0SfuzrW39o1TfSd9CpS6yJWtRz2TYKlZL3yLTpDfJw6QEzkHMbWjN0Nd17W4q3bon7zJNOfIozpLANU2ji6k8a6Sch2BbfekqnyXlDpKyqCWxJGrsvV7bFh4d/KGHT4uA770DI0DMFUfyMnou/WziDAl0iYkTsCtzZdIY+GCA3tmwOMowcMSBijAYnqjnpia93peSHBU1wj461iUfglIgzvG/E1OdYUzxVQfaysCcYWPxSL7k/Nr910bIoe8Z2MrlzRDwhBdkFWLlSCeiIZ+Q0+eRVEmngiMxP2GlD8RItgDBdiQz/tbu0tib/sqDb3fDMZgdT0p3bPGr6wit9xmVLmJZi/iRVKSOa9i98aTHMYPCso/N3DKnIvrlSXqP9tLl/N5dfEUAAA2XoWeybhQr1AJSRCvbftejhZYWMW/Fo99imBZ5aJCrPgHdnglrpchH+tNpxwEGK4wlUoR+pxowV63lGNqNnTcd/mGWX/MnJJU984CJuIhuuL0y+1uEVEOnebTtOdhk7jQIxyIqyUkH3Opav6TNfjSl8iAA9R1jrdkYiOuXOf9kFPQSlX44g4TK6J1C374OpB71hN5l/5K8IC1JXRRf0o5Kjv/abMbW8hJ9Y+IUYq0EwJ6DiE2pTHc6pYL+1laY37j6XPmsPzDQmpRztkE9IjRFBaTn47SPUUIx9AXHlbbe9AurpMQLAf2cEecUfw5I6uLJaLodM9ycAr4pY873fELEjUhqPU17XAdjU887N2NKlYFoyleV8lUpKobvGi+OzwUcR5cEVQn+OnN+AHDrjHd0WeOMSxkF7HfyZGmfnLa9VuLtOZBQ+pNIg+IS9YJyQUn4DCro2+yp/XVb6dL+qG05J7dxClyGs0yACq+Pzj43X4I3rJGFfKI7EdowVZpEGGkA/FpTPbY8/siKE/7SCHBhJmq+Vzfs8wtQV/HT09T4SuzUFOUBdPLJE0XkTCmYMAr6W5iUVwM77YzM7JruJ8fSlungHcmYYuppVscFheA6wqjKU32TtwIJUG7cYDrvig2IazPldM46iLsBdNS+NPuDfh+7BdF9cqeH6J7g7ts/y0hxtfzvfAqFEhqglPJ0WHeyQtO0sM6WGZb6GXRR5OCi2leLcvI6GNpVjYaS5XMj/fJNqTOEQTbh33xYp9yKulhpYuAFpgZZMxfUwklxDwVkL4jrTvGmEISNPAVUp12pEfqSTY6UUwzFOsniw3ixlMbfWazwR/po8UVogM4nqmKS1CAorBoVY+Y3bQYjKVu2qNVvu2HWSPUlrdiO+OJaDwolLzVzhpHHssnOYFi7XzUtAtenfRpym+E669fwLA3gRdzPeRmXZlY1uM135KZDZzxJ5b1d8m+LcYgOuE7fXD3bynhDmLk/ZUaB3RuccfVyBW98mKe2mxWg93ky5tbhaYp6LXK13ruYj/J7mwegTASy37IjuFUY9LmmzLtxGuyVLkw+ESmeDo1D9dSJuFdc5oCD/f56ZyjUO6sXNuNxeE/Dn+SFEBr3tszHPIvP6C9ecnBFh6I5lipk7iUaQVEAtr5r6/IhpLLQJSBYpflJ4RDbh59uuNF08up2VbIBx34KYq/kSP3fmMbOodCJNCzvjtaMKqiMo+OWu28h0A5s/g/XMkD/QituU2qSKX35A2cxeRsk3BQf/gppE3kZehqLuNi3Qep05wF6oLSbH104uxksn+LBOIc++01Vm5CsaiOBXGCsdT2CzxNuUAvdWospUEW3nCaPuckDWBsSGUNeRysjlrGF/4ryTly3DGU0uqnMe41SulKuNiv7dtwoeW1wwpu9bX0nomnXa4yvrcfGqKypghjxzd1AIneU9Sewed/Hl6+m/VJdJU3Cl6vl9s+zma8JDHmrBOh7RYDgCLf7A/zaPTgiIxwr6wZahr1eYSsdV5/8K3yA4oLb2UkB9K4UtK5n/g5LCqVKK6NNVkhLCPIX3JKX5ri3cy955ZQEPNXDtpGk3+23Vmho80hmrgjov/wxTrz9lizsvXHaDhxCA+4wa3u08WhLItjS1qp4rIwnGULKpK2CwstFPGuoCqepWOgXERZAnCIvgJf3x4WBKIjpSN35FSbDD4CQ5botg6iPC3RyGprgtKTQCRjuFMX/PZ2V+UHMKGRvoRUtxCEZE0llaJjAlbRI6kRYk67Tk2opokEctBH8PoZEkU5JPcT50/G236bA4uikcKs5QGIfKF0ihF9FdfG78fLcJYW2o3F6cXbOz4hMw0QsrNHXkF8l80UPr6U1vNgl1dpOAne7f2gyaRElb83tfzL3DxQ6cX4Fr55/0IIcr7p0i3xprwMT4Re4JNIlj6EmWIb+bPC4ED1MVhEd6eQAKNn/zCXRmL5ji//+7P73LvvUZBOzZiSQCpA1kbT5d29uUNFSYxaCUMFOHzUo49PFhI/dcoeWFgsc2ARiiLyIUd+dV0gyRwlp0qK5rTNRulq7NS2suUtBRryVwiyGEgFfLelOcyXMXRegSVwaOCXMPQejvaONc6J6MtOPyZG1hSiwxJfNL2k1Qg38tDdy/pQSLyxUKC3VnTy3gDZjpYenb8BnuyAxyPWEClMVUwPHkmDEdutVXshNpvlSCwdGULiS2U6+XU0k2/Lw8qM/MKzOYHtzIqChNuIxuaHg1OrEu0doJrQMtuOdjB2hADFZ0BnPW/6bxl/SOh+/J7ylvktecHWVgYWwzVEUH2+vbHEB8pCrhlFP6L+AtkSgPmNMtITbSDRe4H4A27kluENNhazO3yU2pLU+ShRTwe3VY7VP1gw8OXB45LnXK5vkqyvIIrlC47C1ZA+4DzAACvMapMVLcyXJjWTeE8Jq6Ms/7P3Kl+A4VNAz6wmhfq3wPPSP1R4uOv1bCWRJLu08mMrw/BXoYQLUsCJubb2AaVoRT6WgDrJyYq5kJDTzRyScubQDkSmfPmcXBpYdHka0xkVKJilgu2woX1Nx9qGc/T8fMW7DxWGE8OOltNSxfFNv95rYbqAnCNjrfVp4DBncCKLQItTS6F4YYEjfo2v5K3No/7Gta/XjeNRkcF5Jp++rI2FISXXCuwer5ew5a6kTc4OMXSUnMbZ6c8q4twXDWPaZZXUKSgRNBmMs3kVNyijxwM+M8z9ExCM9gbzqGkx5jy61Mb7yDprt5qToPu6wqlN7IvHmHWxJ7O5E8NgGzIfjqWtVCVc45O6f6s1VOtiZQNTCdkskWv9t+JRRg2MB1HNMfl8ERszpGg6moNqP+73+mRW19gHab+EblNyGAP7qksg7swXSXS4NNPVC+j3zRBxUUmI9XjgTOGOwhfKfWe+RwfkBE9Kvx554o9o8kd+nMKE/t9v7zkRxd7zsQ6UH99EVAFhTfCSzn36+bIhym19REU+KCIakqqDidvTaiFZC1WR7M2xFvZ2KR24j2PFlhbYJWsHD2gC3+mQpP5Fnybp2rsVYt0DKyaiT1gK0JlIvsoLMKmD9JmYDGKuF/z7eorOcbGXRYI5ESA3Y+NDw8NvaA2aT/ShGFBFThaR3Vy6bwWEhc6qvmLGPnApjVa1R8Nk46OQ/6V3rTajGxdp7bYvbk0pjyea7V7KgTuf1KneIqoEXQe9atwC5jLH/33LeVNC5WHlnNuPQV8Pn9OA65S9DlK086RFPI/pMCi0+xPE96KPpdl3iSaKRdX8nsaJ2crODHSmGdX0glqnphn2g42vvHkJskch4Aqutlhyvaqz2rJ2KEPqG1BoxudeZPQURW/Y+vA3SKi/R2DGvWavpWS5D3A2UtwUW2zWAn8vMQVAqFuFInqLuhViegujQK++l+lL4Xnc955BSSRClh4L3JchtAYdE9KsrGxyoc6S2zjr5XHJpnzsAiwwyRqmRcglsFtzmH1qw5uPlhLA6UxI0272nWyXWcPVVDo5yRvL13bHwdiD9mwq8uNiBA1fBvRXVgmY3KZsMGGXyzPItjvCNKYhMVmgMTSWIZ2rONJEl3L97lltDSboY7KXWyhRmQIRpUCsgfN3QYZ01zWHPeIPC6LBBOK4o5nJRrxsXK9/cZRN0D20GVGwDzn2D3/JEF73mMthOgXjgjDa9mjF3cZYnBrsv7B2Y4p9APMxO0mpNjvMBeyUQSnAdJGtIXTWtYUfHU7NeJqmVVo8cmG+qBl1K3I8IMIK2m2C1TQSasd2VsVWSM+/JQWuVr1V/hrUXT7lGfx9v3sgTTCwcStq1zk+DJl8ZveC7KR4EUJSRQwodcIRvGJ6P8LiOX5lRhxQYSO3jatmSwAkTapr6qdnZ3ctbzSZ+L+ps1v+PxK2dK0MzB3U1kzQBcwMCvC0eAsk1L3b7wZJJX7zmHPlTFwJ885hZRRz4SVUUBZx9R3MofTPuwsvnAvopg7YhgLnOqrvANSaPOqw7jZfjHzANGE9l+mM248KlRKLWvBue40tUhWo+1p1VvS+Ch9nq0f8AaXQCBuzyTG4jWsiA3MSFeHIn07H9b/HdXgyDOX1Lmr5IPt9izgz1RUgE09oKsTMBc7HdMAUQY2qGvqzCP3hptM6xspn2VtXlBHUMeS1YyuaSzYV3R0Eg2GxTjNx/4JoZmHPWgmTT1BHBQnGxVCVxgLulnE2PP/abxhs3WTQL4I8Uw3pwsej5AqB2C1LpbI1s6sryGGu5Tz8AIxe1mqrBjZ8x/67ItI19YyvQqA5Stb4uDjexW/MxNKw/URoH/ttWawMWPN/cpSJfUVk3iiv+TjevotFPmfyb+l7NMMkFRlkG0n6FHyHW/VClVn3btwN8EuN6Vg5u04F8gJGZArlOzhm0UtJChGFGYPobmucEImBryWvkC3a+zpgosrsXzOI4oAJ1zLOyKYGGSVK0F7iBhOHT12dDXNXAAtkIEPmdFf2PSYqFUboT+MUsswAphXA5r8vWxrNmNOWHhhAE6MLl9gRqWgmHggJwPp4+3mfEWFVF14i/QuDlA7PO+q6+Zffab+wEDzdsCHCz+sD2EDPCfCrOFury52P/ZO58dXbsteTc4eD2aWXiVMYjNamPMczMxtJ6s0ZpZwttuj0WeikNpEUUQQq51LshYF0Z4bH8xcNZ6/CXIu53/jXsTw+dHzmv/ReyWSwAlKTz6MkbEjy4hA+lUMVrdbhPnlXgx0pz82ygwWDLz8OKyNTBODv4l+uLcMrXGl6o9ZzqUGkELte+CR0bspsrjXHH2isQQK7Yj9xWOSZx/xBJy32uDcF0VN20DUMl1b5y5AkjR408xZaJUjcLP6i70TAiCVIPF81dSH/fIotNE8pHpR1dwDgE3bynOpK/z+BrmFnW2rpa/xQLh50ifEcIUPX5HOWTyg+NiKhHDibyN/qmlFlrsSvhPB50Q/IgF259IpNIlrY6o6dnE1/RJvT0rjVbFgYHofK/W3oSe4w23FwYeEn46KePtTPZr0F1wFJ0TXLeQFfXtORrEY/T8ld/kf8vvpcYgFO/FkcAvWIZeUMo6jJJHfF/EYosQxMZMTcNXf4PR/+T3WeYiMFydpKGkh4/V5FO1NEMX35Fmrqfxtqt4VW8Nz7yigFvWskkxgVgcmE+4CKVT6brIxdBXt+vo3RGyKtczuoGgJhXJHhONbIAK0t6RjJtG4rEMf+zTQeuSWW5Eb4sXfBDD8ikRUQDXZM5kgHfS/FKw60K2c+1MtMaKPpw2gnz/Zl2/Jupt+XMH+SeCTf6p9rjeOJicWqakFOJuqongikqhXBxdjpp/Uwv+wYBK7moK1HWg/OdHb9+pygHJxXYGHQccR1tWFIzj1mhtxhFA/k0TaWHzO0urV1BVW+Q9Tkp2F+h1CXcs0EOICKbxJcLrPphoqMkZ6MVEHXJ8HLSb8PP5mhbi+8KFUVbJ7Xw4Uq2vpNbUdNGjR1nkXgn78OelftH3iOA1qT/whtE51gE9CH6qlSytAG0/S2RruBQe9nOx+srUyWTOifSZdHRby4esHU8WNAYh5np1thX3jod6tbtQp1uEJC/bBlJwjWS0BcKTXYtFHp++C21iuPeHlBaynjagDJFXcdJ6n58HdUWLZB89RHO7FsY+IBStyRIY0WAhxONxCFB32GkHdFvSQtgXF/0vTC1ITUILYQtuJ8tQW+glbemwRloWOlpakJ8CHOrCf8sTXSrKCZ1pHikiAyd0EkZor6FoTIDiFxDd9R3XWwZcdYezXr8cKgNG0EVLYOgGrwSWZEdOOD1+E27n6WhqoNgoYX9mccyG4HAEXdCIN0/K3ctiYh9uON7stglTVaYIxvwOQvUva9pugBjXhcKHsMNkhfBAyo/MT0/zWtZuKZZJKf47Iy3WXBpGsoaRqvbgnetgHEghPNDOEkCG6pm/+NjLuDgU+AFjTAJ0vOD3IGznxTjmhw2Se+srxoRsm6Wt6nvLAkfHJoLCNmavj1a5195tFUAL0QcEiOkL0ACGgRI9wbovc1jF8pB3LRWT2GfaxHsXdYJdneHN7MB0T0CTN4RPXu+l/MSkCmzsBD1BqPqOsCMGZG6adxn0MJ1HgpLlTZByA6EVyN2uzhZk2zHPan/a3nQ2f3311Y3Kgaarhgvei0BDuPq5V3nUbvkcQngwr+2UcWfdrlrb/h0xM3+BglLAjNTqHPib7U5FOR2qihNiNl0Zn6I5JyJXwPeNNJ2U8xxBp+oGcZd5sCw8trqR6Alwb7aWRPn0yqTC0jUMBj152Wmfm+htpuQWMIlCs2G6n11ByzcviymZCiU+T2efWlPFGLH09vl2j2cNp8TReHaNyrPvdiXK1PaFh6GocCCaBVlY8RNeuXFvTqtA17rQz/SDkDdt5XBWJZ8VyaWn7QGg4+qo7zg/hno717iAp0UHnv1yOv6KJNCG5JzFgXbfiNnVaLtofQtFSKwGU12B/eJVcBv9DFviQ5G/oRtj0bfk6Y8GEMuWUm5ogzCJHcjpynaJpbzqXR0ZEcwqml2xFloDgTyiqFVPLM+hLlC12X6NhgCTRKvVU0MEl4rcEQqyGmPxTm9WiSCNNBNZnFHRwXqUibSMSuQZ/4BqlwOcpRXk6NqT4azNom0t7LcS2EXEGnswduhsb2n7n5Vd8D7y5agESghAISqHxkKyLedHT84S8Z5BnhEbRsE3jrGcO9Y+m5Ff3EQOMrudogOWZR9itRvUVfy5Lu9eI9MVmLpsKFP44FpMlzJMIZhTHy9XZiNnl7bCuFyOZ7oDhBMWWMS6HpbaR88NVsjpHEslBnj1Imt4fMoTG5HtAHI5XfdXxvS97eE3xWhRsW06UdPIsG8HDrnOf7S1bKDXHTf67e91LMi04X13ykPHFjeRQJSee0/g8B9WaWQgsMdpyHMSFPo3BN5Xe8v2JAjql7ZZ74KwJdianxhNrkTWj9/8NIGtVL6EQp9He+byiA+R5tygf/5aq1YQasTP264PZpnSsNsOlUdiGdWUXjy65LYFLlerPa2vBL4ZBuuJt23/Bwagxw7bAC1Jfn9aLmUZY1LrxDHhA7Pp7RFW8huo69+eZvuWItO4I/l7V8vPlPZAtTI7vkdSBlk970OGg09MwdKpFzLXQriM1SSL0fOO8ANIkbCJXaCDPP2bDqz/M9iYhQdXQITPFyrAqx/21/K+90le6Usl5ZWiLHDlcGcSSpym2n6nJTh8uJaQHCTu7gXS11+0iYSSW5jhxysQ+xPWAPkmddXW8w3ngJrFTdwBW5AKVEny0kjtxFaTE9etH/4urK2+VOH3DvBnaukacVGmxTEo/K+bbt8BWT+/briD9hxBk3hKobGfaXmXQIASWzSiTdgOUpBYX14yPCQC28qeM82kkheGxTr6JiQxraKf350BmvlBdroSnoZ5byEplPz6cJ7EZ1MRXVPkVxxhItsU19qQu8v53dp2KDf2slUwTGy1LQj512740CPpjb3VQgoHUSAbnes0+uJzjQ/Xd4GCGMgP40eVqN+fCdg8P7y0ixstm7HT1FR89rJQH3m9WBEsd2+Y64hgtRBtcrN4892hkGqIz/lJJcxxx2RBVZFDz+hmnS6q9WcPI8Ch/XLe0jpcYzK5I05hgAAYkkrCjAQDgNVpKmRZ4/08UVUYdDftrYImuvqJC2KpD+8mtoul5KONKIuPjrY3LiwzK3eheQZmvhZD6K3pzNaBtaiKwE8hULoBV+WrThYd4ZiezjKItPk1oYhqEyz5eQrDAT2xoYNjIN7J6qiibN82mArzJo8AgrGJPJUsAf0X9lnaLo3w+NW758ldRJu2Lh/8aHE1V9jr/EfJ9TWTmRdohraLkk/zUxT6az9sbKiWJDxEROuQkoJJzqB1SReWnQcH06cI+RFwtIf5nMgFwLnjRNFeTTElwiilPoooZHylwlQNO4zmUh3qEa+Qkd1rJ5NcAYfiY9tAYu3Z1OJuyjuENDfCEg67Cvby039iLSXYBjH73gDUH+JzPWTD28F+XpDvA1tCm5iJ6SSrUmEsxN6/K9ZnWaX8eoB/+sZoScBwpYk/RBWFnk7Q0Pait8RrL5124jQoMhq2QWksAXi/9AQ26yxmiXLyycdntxLF9VXMlPznvjDD5V5hVH2vwDeHCBVYbpxlAbNTXB4w6ns9UL/SZu27R3Cl0Z/XUDy9s2ygAfIp+Pgdmt5+QH4Vx2m9lrwuRBTbsYq58UZVVTVQo73NCrhTfl2Trsu+lgssvB0M44twL35Bh6YSct+tVbAew+JoLkfVKp6Pha8FzPF/wMJAqUQ4kP4x18XwhBkXCLmiRlsLPxhJB8UJ88/G/wm870qXmXt94gJ3jjL13YFfG7d+g2KSmfMKKNxKcREQ4Sl3XvD5Yu8u3kQ+GjT1QfbyFNAEIfzJtzxSdRW7AncACowt08ashhgissMpl0eJYWaH6pAPr3kBqFmQIUC0LYepmJzb9T9WikAudnKUOoIMFMcMyT8CoR1lJpbO/IVReZg0yUPS/YYhENY8wtkxcISVz9hJfBmR+LCuz8zHyUuR5iDKs6Xf8JGJTeOpOPlIhbZDRJMe1cx9PUpwqOuK35cBR+moHtAkalTqQFwrDQe/oKFyM1rmHUwK8/k8BmtgQDK4PsUcV32LMyiUfXgH+lNcF5hRGW7S9JPSC+FjnwrwNq/rx1eve1KdxvdAoeyXvqcn0FC7T/IPKnFNOqpe6fxyahhmvIZwNRvxsrbRUr8+ZtChYOZ19WaMFhnhZZaSfz+fUl1uKdGT00KI9CG51wZ7iJ70l7yL0zZL9jl+RYouYrOue9YvMvKfSEtT4onySg7QP4zfJuJHNhzYFQQtPMEeeZRFubISPuDmn6MS/rdSFCViUlaBM6+BZ16xXNFChzngin2e5BWsTo6iVBW6Ov6IyTpBx52lwoqFwg8e+LtyZIh7U4NC1m/21LmsAGgMe+WwQZXLSwnXtabq4qJ7eKcnNJo0zcMW6rIRy68PYchZ/tqknACufc86FpFz/jO1IdIaDo/Q2HP/kEz3ioom0aOndG6/f1E79shQu5fEWxF/oIO8WlDdgYTOOxc4JayboixyKesqtfHtYjJM2oBYdm0OlV7Tp4FhgTuWxqoFUaq4pnifB68UTpQ9WlzUlfLYI9ZBeYcs37eXZmN6NtPo8dX4YZr6KDuc3QCCB3FMjcwHfWliMTjnrdEsng51Is8oIjAuF7ABXL3+psL75KFfYDzozH6e8sAjsSNTiXPKtEh2BuB5Gi7dpfCb6DUFJfy9Now1CD/TCu2jquANaDBhVGkZZUWCMUPS6sb9wmfKlOYr47ue8B08QF9m0lHOT8BXCaIKNOC+58Yyoylzpkw84YiaAcz+xFxNE0MHF8XE6jNkBfB1NtwrLA/KR1AB85rR5TVuGydJh0OCbWv2mDMD2SnY5Ne66Beg5yHgXm9rd6+xYC+7F5PeM2SkrcYIm4BURkcfKjOrSfH+GTs0kzzbsjC7HdzvKu+DpQ7opwzRNTi0AKCUG75dBTlEpktwIO5Ow2ZEPrzEBZUwlzG5bg1SJOWG4gtl3L0/azssYp536ZwwWN7U/FcAp6UpLC2MbRpLm/moyHGKfgtyZ8/zXIP93wrQvHB2ni1j3RH9oz3QiKc/BcvSXRe3RydkNOkqO+rA2loy0cSPe6UfhA5Tc+ECQB5lU8KJVT3HKvDUizIuMdTj4gjxSucJfslAfSwaFWrajNVCUdF+CN5RRE7jXFN6LKV1aSWM+N6cn526I2rVsZO20KJWcfE/0vRusaf7L42lPpwSYXQPeua9gimg33m4hCpdsSFWF6Oao2H0QcnjkPeQnb5fjK0sSqrpTVLXGy6WHxLGlTgsVrEwdkp3x9YSl29j468mOeh54Az4ewpu3YL4Ak1X2GDTLJgD2WQQOI3uLKFYJIFMxDrfVlksuotApnzATFCNhvogg7kShn4pU6GO4DSl+0CZLDNEt/40b8dTnSOfHExXE2H8wIAgAf4ySko6bhQgI6aj5JdTQwsPVA8ziDcTgCB+YlIxqK2hPfydpwzckmOX045jib7U++bZk4/qR6FBTc1c8Uw8Y2i/krhl4XwvfhL1RbEPgx5v+iUQb0pQKb9feeThJu08BwcsSjTbqR//X1k6LHlEmvzvi3XS0REEnkTiV0WLQy5YENOPNLVxtjaj/JGfvQZmkp71NaSRuMiUBk8hb/M7H8O2cuAPT6fOE3js8Br6A5oe5Br7lT2XMJLUClgbGWfNTSj3JjB2TvdH9EnZM8tzRyAzpDEgMMNxynAUAIB+nEmgX0pqKVHH3Jdqc3fvVq+bvQRFeePbgxzcABjuiAO/ZswMqFGmZF5WrnMMsOiH0U2Ei6KWasMo53iFRbrBdsN3RQjZddyrEudWEHrhwe8ZHbD/egDiEl/8ns2UPDDGeFjIummcqJAMah3XOL1XTQJ/dUfSq/OdfJhuTQpOaq7kNGOGrmKXDcRWOAtdi9ZWuRuS8bdPjfyYXgPAeO6v6Ph38eTgWk04SmGk9J/QKRt8AFStUebLoBupb35BiBpHuk2bKhxlKFI0joOZjVsD5EshPzrT5nCOi8+UydJ0Cv3A7Iiok8a6JKqKW6dAVyn+ZwgKrkhJZDHyLqG1THCQknuv6Gj2KnQAPF98yYxiUYM5QN/MEYIHDZAywLenBFbgf7rm+uIKV4DC/DS9Lr1fuEhBq3kh7GQVNh4DDKTs7xxBwLECQlmB2oBzaFitdj0LnH8vLT3Sb8kGD2CicTyuaz+GAmOQciUeU9o67/yz3xq7/5xGCDl83j4WCJFdjcNILEvRNoaIj2r5Rz1ItmYGdhaxdidSt2AupC9RsHZmkd34NtWmxa5YWEn1xXWDoQAyr9Rgg+dOuexqlYDA0wHKYm79PGmmsVithz+Us5vi64dx9xHb9qdyCroEBpj6Mu+jR/ZDpekLP+tnb4ygFw7Zk96d8yhUnu8XoJBmVabB8waKi9hQUS6wXrdQw4uoPCUnlAFTcs4mipLHj6PMfwVDHmERdbIfSHhxhNhApiCVzDhjuh4qGoOXROAy7frkMH/589POznZ8vfp/N0W+4AMrzXtTvMuztfRDNc7uyGXedIpmlpFsXM2KDGXaRELsSDqV3VrO2ZBgmL2yexET1AcAIM2wU6kcudLlgnGD7G9LtXQg2l8W/ptd5zVqNZ+33l5Gpr5VyqII3LoRaF0pvk1CTzcVqKAAo/fdunBZLg8n2ZnAEr1Volt60UtK3Rx0r0tTPs6mK0jjUpyuCnA3wP0sMv2yNhK8w8PcQ9Thdj67N6eiuqcMe672iXSTEMkQ/tSobR0Mru4jCiZkJyuEnW9jt5ETIrafklqz0hkCuNDEayO/DO04vM5+qUy2ivwhKarGBqCmYm/2619prg9lre6LPPB1W1FhpPJVazQL0PmL8MTgaQVNBZA907JiN3oEXw9zvDApVNaS5ues9IqWKX4FLj2On93s8yWvoQqSXtNbt5tYHsHnpSFJeRc5c/hQZpw2LGqsa13rNG+c3V7a6dhUSXIEUfMrGZZp0tGZWtow2/V8y3XLjrheyZ8vOqF/9CYFXfCFqdKwa6+CGtgvVwKI9VcggItM9M2EoNlohH2OaAzJo2/7STwvCv9m8As2p5NqP1tDORwNG7S/2JHLEbsB38ZB9wbXa8xcs8GS5ZocXZmqxg/KxBMqBmZ7IEBAVybCn78/quuRNnObNeIrEPA2z1nCHgpy1yRb8i2mh52AIkbrWwxworNCHdsS5glMvwvGnWcURd1ZCDWfxeaz7tr9n85SclvhJZpS5rIDvkyKdM0Xjlj3nOrnTAXLOI4meMP6oyGAhP0oTvFnTKARA4f12K0RC6X2ZAEN+ztsRui9t3jlxtQ2BXBT1C/G40avLoMoxAKfxp/16r7eguoxKfq3NN/YJMyIuzP42teYHfCt3/j124Z07tebjta7AyhFjvhdux0LTPuL8Me/9+TqwEIeZz03fXuVFATo0pE+bUs3izjL+do7KO+Guk0Sa1Lz0+W1mfO0LZpMsLi8OcWyQ0+9sAfikWeB2N1SK9jeTm7S/RMdBsWXd6Y/msfs7tRU+HxL6nzfhZZ14AFC1gpuZ5Fzsd9ye0GG+a/rPVzvZG8qRGvtKasQd/uWNH733qcbGs+fj1OjWpoj9uPXXZePXVR+/JQdIhExRSr4PESmOTIsq9k74EvGhqfZxpRJvJwomCD63LOo3QadfAqd2LC5bXCIgY4GxnRn2VFmejQGTgqoZqB/AzlpP5MqoJzUgfugsQJBGZpgTgfNXmJAAuMEomB+ZcxCRh9XfWYadYJzPOqrIgPiEcAcFubjdWKvuc0VlvMOm64cwuDa+yq0H14Cb5CIaCNE9uQzUwj+IiU2ZoZiiOnn94wf0nvhLP/XNyNTQTcemasez//br05habB7IcrxVUNLpzVRnZKTQWPwdG5Z9pfTk8YDpdI475DZ0PquRKtk0OYIHVxPBOUrEImWY6X293Xmcx2J1FcVR/Zoyz65yA7MX32+k2l0WGcMeP4FMTr7g75ZZve4jkqTn++TrFhrkbyvIaTU/hqUID7shvaBW8SzOEft4o6WJf6vASDlFvttvpcJAA4HWnBCXGuAMweP64mr67BcZ9tIxZOn4RKdsnoY3nzFGReEXbaL8tbLg5m8Z+p1Y9pwaPODYtjZGEF6tcrfQhVCbxMy1V0fCV1H0TSyJiyciXpO7AG9VlTvBPPhI7DQUNhz4C9pwoHsDzVijv6tL900yebaEsf5UWwG5X76vkZIFuxUiWRzzg4lRRikpAoznKQusEMdN4YWkcqguF3vAiQT8Y/7sN5ThNo09Qy+UOtn/Aibfmf8iVSMJfKk8n73Go3AU04EurXvrKnRHpVNH+VwThzkTxU/2NlyOoGB6kC6/PAqyRVZ84um2PzpM7xeMgPJRpsMOAYE2Xg7WtWEBv9DEggqTcLL3FSjgSeB1w1WxZdDHGf/RXF2U3aAlaqkjECXu0BgE8QJk95Pu5JsH3iFHyWU+rus6lKvqTB3Jiidg6pqYufOvokfAZENtPcNHf5dhuEzdpFKndC/jZRa9H5p7s8G9HCGN2Dpxda95He0/No1KKH7fNwQ+Sj+SZAvE/mQve4PL1HeIV5mARtgji0sch9/GgGzEN31WS9iAGBuQ21gKz9MVtkWaOPsPPQx/oPEHvcvhePQdsKuY/wMwBBS3UJ6Lle5sTNhcdNITWDO2pQPKqs+kIpevfHPDxq6OO2WQ4cZYZMep7ltFpWAPWhaCLDjT8ofm75B9Zt1KMwHyzjVlfzg6vfz9vsNr4IUL0ScjLsimywtb4HfV2A5T5r4oF8QdUPMoeWYvEXXM94a5JPFIg+5EgRwwYwK/x0YCahV1d9c/bFpZftGpBO1HTRIVoFfQ6N7midXm1BpiTX6TUykjcnEZzsmTM5LSPEL5DKW5X88YCW3XrrPsVnRd6g9Gtx2fDqnIBGCBFoZEeJkvL6fwqjhyUJ8jU2xNKAO3FDJAwspc6Pt+7bKZe9YQOpoaBo9Js62MhLjxBSw01o2GGdg4JqxHUc0ALFIKzfwFhcc60IavqSsvndxrsDc6IHRJdTaJ/51UGDMJpiiQ3/N6FwkGfhM2McrBlNhWI5jopEiNCxVD59ThmKA88mukvsUbe5N6FKmr5jAcEXAmZ6QnN6axZpwXbXPu8CqcHlgXeq2c+ggkg4sdmlWcal+2GEv54qtCUtXmDp9cQG9yaGFQZ6KGPO7oxA7iXsk6agBY9pQY6/FKgiN+iAC7WXYFUASDGZEi/2KvYxmssPWWiFtoIHjLZGf0J6ubA9xN6OqkdnKwJMajNcJTt1UcptiAqo/lA4DuQ0kzWpWLQQzUmvmbkKOfglxtJN2sczLOJQQr0TDCuX7yp/Y9GO73svD4e70G6HUKou53ycPgHyTyORwjSh+t4Oue2bW3zfJMrXGtllHZ61IJK1z2QRiesI/IC73sSJDQkIuw9nDENbJS/jaK1kWFUijS9n/dJB0LdSwc9t8GVgBmahw4y8Xpyc8W7JHrzo39/kiwF3oKjq332jIYROglL26iViAR0MTPIvcUsfPoZWAR5LLOSmexIoFH4KZGQ8QkeRKeE1egZC9UT2I612sYtucHjD2KPL0jQlmQr04VatXmW/lPdKeSm/yDD+44UkA+lrCharrr0e6mfWWomfDl7OtNoX/Wjq2WaW30cQZkQF81KzSnkNbqciZVmU0hdiOLUehvl16wbPJVWB3gbgR5lRWnrC8IaVKslGB4Mp0xJ2qDc4kxZStKF0lpjXYFBD6xp69H04jMPlX+YIjTtM4sPJi7slMcrQXo2pnRO3vSzs02DeRinGmzHkg2l8iF1Rqn+mxfvtBVyZCeZv08FIrD6BQveOaSGhuThx+scbFOJo+WJ4RSZWFh/HC6fTDY34sykapWVJvxFLguhxUx+4cKrwGli8p1BrxhbH9zQc3mrTkgB9elC+mLHRv3v6/1XVt7iqnMtP2VyrwdjuG7t98+d1EXHVp++HbeYUtsjRdtdDdjLwEx8UtLe+V5MNC8oFRF2miQG+nxsW677xSLDLhoGie5bP0qXjjeIOHBrQpkwEqKwtAY3HnFpPokIX9SfIzDzklFGjm52jQkeSJx6QuhisYRDsyo4qTvCzTu+uxo2buHcqbrk+xyxh2KuuGCiTuOTty7s3VVwfXRT/8UdjVDJ60Ks7QGfGhOyBKnpIGIe+5zQ7zT+xOzGuel0ILpahpwT2u0rClrnrvLVaDpCurzWyngky8dGKPZOnDuSlKzEpdJyHSjSlq0u8UKBDnyeQWvgQF0IIxMln0WOlsr1K5NzwWYx0mFmm2s4OIeSf/zf0BjyT7rR3TR1Y3YQKX49yqmsg5FAPbjT47AqkQPamq9oBWLuvBHB9WMxb6dW9BMzfn58TC3PlpPrpOS2fWMu2FipRBs2pA7mcBfWwLExo3mAJ5HoPF+zDpmUZSktxd2xnR64ax/3jy/drCyFX/wVElB2SyKWuLrfJtHA3pIpl7KYj/6Wd9N553Mxsrid9C7106R7xD4Yz7FJ6Z/QLgLTx6DRAyRdtPOOp0BhXBYtIK2XeVBSe8Dl+8l3utGf7OcVqPn2q5SiuBUZ+esLbJpHfnjdqD/f8EUJls/SMviR/p2x+Bg0fTdbwsNmNbxPob9a8WRgeoM6gBCdFo+1oT1vrqirFYDjQLodRoZqVHyXuRb8R2vlg174Ynw/mwA35aRvUZLdp/bhnoS2iICNGUz+XIBvHbANvwk6NjnCMaaL34/B+9hRx8MBPQclPfCqRyNyYynVsa7VZqj5rxep6a1eGEnzaWQ8zaim2E4Vbhn3xhTQcbk2FbV2ILgnVB0MF1RKOf1Az7fn3jWEe1KVxhgTAymMy7U42pw8o6wFas2zaBIvaDEnQoGSXkacUQpBMrJUzvhUGhvP/iP8DFH/gZUhaHlmUx6AkjvCWJhgb/1Sanw3EbJtJtfxjgL+NHoCNzcyvBvYjrZFZe4BohycjirADFM2Ozqu3sf1jSNS+A8940+nOam5iPuEb0rLwwD0YVR/ehI7nf6s+2I6WJN6dIHS/vUOswzb7l74oiHomB8DqenUvlXXpkiTMz+2OCbCrQgJ83tdyy//tPXg4j+tYyTZSR0EP5vjX7freuh4vCGAG9MlfCJPHDQJg4Rn2R8H1PWO5z6mP+HxIKMwOdRwcpr4FDadYiLynXmM028oi1FF+L7hXIbe0znoeApXPmcjOfff8kLqrD/F3f1JBDaTNUvL/+nPm3WYPFPuGhfC94rrKcbjIuStXNpkJoRQpvju6AYloEWUfF8avQ221Ej89Ih6+zev+1xRqo595npn5FiZ6vLoDWLSEj9QCHpn7sm/MrtpuYOzSXEq+OjOOGLwhpOEFTkaeQy3v4NkEO8c3NsN88JG4SXHW9+iiKEQ5AhS7TcRiX7JChHjy8qnQs9sYpIBSXiLV0OZeZzy56PTg+RTTXjr5rwd7VLiETn6MUuPDQpdKb0/RzZhXqOp5NQST+slt4pBre/eYSIHABxrlKLDeQ4/W+tUAUkGt/Am4RmqzrexOTpJ9EtL+6kGOLBoz7oW9tvd/BbCvKcAjD96laTlODpIfBVy8qCSp9fj2Iaf2q8mA00rbz0ewB6x2w2d9ZF/6rLXGgYMlsEvVH035Y68KnbcWDh0ISVo3RmAL6IgAPYORFKxlOPKlTCXaTxJPy0vqV1XdxVo04qyxNAtFDb7fhLjaVL9+DTgdldKwHou5xFMOiZo377rAphiotci2fN5IxpRtbOFyxTmXoLgXWosvCOxXkqm//cBaemPspI4ZR1WUIiQA3VbeffXeZoFfh84plimcrZyfM9GFiuGn48kVaFj4MzAiiNuy4F6uJcxvbou53MuhOX0F3rduvsipRkixS5rTO+TIjw/BfaGG8tE8wU6LzDXwGqVo07NfcD7qOYGGF0TTIJFasN4/nmir5+7QAYUBXX5OUZ6pWdVBPJ2kJf1MhLg8R75RsFcv50h2sHCJc5dfSQFFC1rhvtSaqezw/RIg7OJa2A+06LDCdfodjRKX7/THDOJiicUBPdHI07LNyC9zvtajdgeeCyhkauPL/UBA/RqBouVhWLWuWohS6Yc6VBJ0oPVGxmTU3IHGLA3FlBuHIhExmPTt/FaMUD1nSIcu9CzGBdeLpC/JTY16a/sR+9UGT3w87htslrOz3lmydUdSIP+NfzSNv5DrS6Kf+4Tu/+YhoTwDePp9cZHgmh59VUmWAtqWSe01xdEyEs9K8jIOC7UNrIP+U06EZH0aUUObciJsyxxg8TUXQqw1uwr1G/xq8xnvJ/3JiXbTjNjdRlnWcrsoAqV7TEfBp0r2GgycpT5OaSH+mdvfNbc8becK34KPG0uSHQ8EaEKGyCucAXESdZ6cMKOoes9CMURJgmR0zkfNvyVlGugmSTKAX0cemradIbysVz7myLGpKrfcGMWVMjfKTC/C5SeAROYUrt94Tnj9+ey4azw1/inzaxkOYp10Q99Pyszfnj9CwRdKy3x5j+iHI6JhxsOORnDK8YTck20DF65cKx4ZDUGkkXtRJBp/rfPS12bQXGjA6rrnN/pxz8vjWMjO2z+5mY/+ge+RS0L0ULVhWK8F78XlvJpkj37n/VaRTydcR+aab73qdXzIzqfi/9EUc67VWxOFHFrt9uOfTgFWGcXzdi3nEUV3os+n+k86ebAqctfvk+IbD2PvyMuKhhGUOHCLoktkLZpuzOiVvUlMoS0n2tJ/Y7KuE+VAstnbdIvMiOYM+EuY7znA4sx4lXFhDsGl+WsUYhk9NDJcFDOXC+U+VsfvXiInzYyhcCM2hWXa8nI+NXHPGg+zoo5u7Wetg6S9RWCDIzftwamddzDLQGdv2FDAwZG2frHbPhiGvo91M5FT6TWTkJBr/IzB/7bItDm6IRm5GxKR30UlWkduuIt41iu0WRS5XZ09lvOHf6kk+npYq5Gxf1UyTmnDFlge1QW0P2J7bG4a3mCcZuLVdhuvqS7S5FrGRP4XKnwqbgH5uCXECVrn4TFcuEi2k1Csv44UcMISbZ9AHLM3ivbRoT8+K6x3WzOr7KCKQ5w2YAiquFAb+kc0CT/np9VkGaNCmDCgb4rs8Dl7NtIOXKYkLTP6B0olAGv5nnc1kdqtIgJqU2V+9J8qgzr+SIyYPz+uoYSogenSq5NpLvVfjqTO1J3w6IcyB95ErRjpO0UDujrh83lQ6YXqebqwGgQ1snHiioFp0gipb7oSSEgV14U4PYi04V6sINJ4ir4xGm6dSO8TBazTtfrv9ZPKhq2X9sXTDV7qlvArbR6VnPwNOV9xRZttmrpah/wRNOle2SjGrBN63n9kGsaD7sEMM5CVrkMq0oylOUKqIxvRezwgI92e3kaJz/aTftlIdL8oYXjySyM8M1Eq69o9uRvnzcDFkangcEoSPTAlf0QSAE/ts5AMAABoux7iav0pRGe9aPMFyu8u2s2IY5CnbETb+oYLrMSs2Pi0BE8+J8/bsoy92ZsghwC9kRR2QAW2MS/Fs5+EgBs27dRVbsDIFVv6palTLGyarxhyQMISt6h+TKU2rSflS6+P1ENQrQf7FLQ2g6AC3PoBE1jOcMZWnsIERFN7JeJd+/3tGDJSoeO1IOZ7S4R4j6ykXyKbzc4EWmtMI1HMJQxt6hXLSGoTUxBitmzl9Vytm9zmn55jBBWiph7LIRuSvHUvrgj/IQ6vx66M0R7Cjbw8orNDtR7V3R1sxIG+DZK4c5ehGYE+9bJSAlvOqkabLSXf5PZQssAyfJbYliv2r+V1yqXaQ6U4zuFKalvSEjbUFwyap9pklqhD6t2PN0f/486B+hLr4ytRmBS07z6A0YT3zREPctMF2R7E50sF4mPAVOc6YexX1SsJ3UVwPok21TzuVOvNkgHhTWa+/jsijdeWkiOzur7gYp/kCyt52PH7UqfotBx2gRJjvq/lDgSS6cG8GFFBPGnw09yXbxchZ74GJUJl8GKc7ZOmiBj5A4CPN7UydZ0z7H5ON2+8dPCof1yo/Ea/DYDt9k5KiN1FlgyEwun0/3SyuIai9Xw85BaFc1xnDpA574rKZsnz4SEM+sFDgFHorrCRGKlnKCPksQYzuEoms7/VLfWNK6sf8Cxu9hJM8HPAb6EJCTC13UpCbYIe9htQ9WCoDfZnZ4zXcj+UbhgUfjk51LS2tcnj7CuHq3WQ2xRdQ+Z3SjMGr4L6wKpt8j2Do+6Fks+sqqPwYHSF4EegRnFXXhLg/bDrZR3uhXD1MOgAwVb3VozwtcLae5S8Cr6Dvn3lpAjHfPzMo4MMmkwZfco4fONjPmUOXE5zBJLeUKkGisW5bQs16osU9nNTOZKjAZLE7cteejaDjMB6RDkpzLyEIR3sfFGcabrIAqa4PSJNxsaYCbQF9ojpr7wGcagjrAfbUHu92wEVzELzaclyd+Jvljf5f1VTPfWCBMkldURllKHgyPPhfwF2i1m+7rz/gJ4b1fRMQMUUg9F/JAg7W+xthcD03Lkq7O1ABKbICdKgPK3AJiZWOEBBNgoxS4KOOex+5O71/YYFYnAsj/qPQ6zrIE8o64B1lV2bTKBT6qKLBZSd1KLKgc1MCh4i9e3QcC9FbPxOFhDuDrHhZKUX+/Vj3fV+ccQItWhxtZsVuOnkRRS62YHgrLjxCWW+kiv1Q1QC07+RyfX8zgY72PfVjzEzPzZUJrmpLVzwdMUqp2eQcpmfr2VspgcwyWSAdy1PSg5V6mRWFTSbiCeSDmBqz6zisjyqukXkKZJLqSop7Ei0zfnFBOWP99I0Xp76a+PQ8ZTiMT1KWYW7w28wElVTcOSHCnqg18vBayBm2U/Ibs0cBkJfWaif5SdJA3hOjGCFlMN3MTBiLAylwPHhOczL+/6oaWmbA5b8/AFdBg6GOuZaand94SO09tzX76/RmdBeDPUeMtIgEQ0de/bYCGfDDRQjqhZlEGs50xKhp+TqcetUCeYVE091olj6yHQv0+MkRxo78nUWnohqZoTZoATOC/u54HpLv/ro3dd0pXxnqvplx+9VB6mmGXCPLHSd0UxsHf18CgLt/VBVyeRPiZNrOsVhEuMIuR32mMg7xUuXhUsUOmOrQNEHvrcG6L3z5SUrwbRsOzsrQXuYw6UG3rhrMlFnt0WZJVLIpEf504LM3WkZT46f9cAWs7/O/6dmXbf0Fl6geEtW/l/n2BVBketkU8LJBM0HZ8tU/IrgSbHCjJFVP0Cm6FRc3RIpQg7j+Zl5re6FB6ri3L88B4cwX4Q7bv/8MgZP22NpfKJeWC/lZsddTnVt/nKWMjDYNmAMmFp3BwR//13hzmaQbpD1VKMNFnIHbqytYvfuvjyfOOIMPi0jLM4FwRD/UHpdcehlFz1NQthA5XxuwbVFAjmdF/2nWa3ZrG8ZgDoLmy+VKhXEZNX2vKfVJ6D7WqiXmfV/IdRfx0SNRoqfeSf5w7bjy3BZy+Epk0OIC2KqiYEz+le7WU+hi24nHMm66kTRqRRI4+XJB5W4PRRm8rc6HDvdNv/OLos0AQcRrYE1sEQLtvOU7EAmsES4GJeGgFrq0ZfEuZ+ybNn02b8krqpG86njb3jOLpdDJ5y7Zt9v38WOS3g3Gyd09Ne3I7NT1s65WX9gD+d/oTulLlHKXUwWJSuLHSLRA6m8baESt/EY8ftglHJsFzH+/N4GYrafcBGdavmM9rsDog7BfCjJTUBdgu//fn0dNiwwmkRqiYFkVHK6odazUlDEbrDErlVFxB3KH0RwurrC0dN/u/H5oVTHtuuVc1TyYEPgyZ4/JS0DIHC8FfFfvZXRjj9BN53iw0RNTAB8pJux9x9qZQaYoSE97x+3DPjeNFAkeiIPdNGX+puKzMTkrEDJA4Ke7QxArgiTLTGmUt+ewrBc89+ikZyITAIRnXVzGntcYGE1FcRPAcg0QqAMXx9+DRxmMugk5pDIPOaCfHwGQVVCSaV6VzWcSqTk6OprwM2PPa42fmQ3KqrChunARESAbFLxOWRSDPWsLmq+hmyvFbyq+TalQQXWFetblTqRmPoKLL+D6NbIvrg54XTIS+x1VBWi6HKjnjS11x5RxLaCSIKCySpCQg0fTU9tjqgwXrF2xQD4n3/S6vTGehceh3V1sny6HS6y3RPPWz0o7FqBFhk+WemNzo2wG/MP7+bKnSNa7aRZh5In+Y5gzhR95hJQQxp1M6nVCNwj9HoBxGOtTccTgjPM/YKLyCxn3K1Ko0Pm5msUrMwCIrnLmnRhkVwpmGDBwMm756tM7M7YL6qt8uyOB9++eRhh1iVbKzCocaU3IPPp6jA3O8POTlPlokF9WTnXxBwjNQAjk3+9szbhOZjVnJbUmBHGuUT+ARt5N/r2PGVasTuOakejN7AmKNceePXZDNXVznjn2/UqhoJ/sPPAZf4+PiBYxinl4tPs1xxkQ2Q4x9Rg0fWWdXRxibhK/61yQOfiXk5Y2hzJtgURcAyMhVpF2fuafNC8KY0IV3nCqKRyKBK5XLSZkxuCuU5TkRQDT1JwxSGgF1g64sexAnrJNMPhjysYgFSY6ZOztbfy0yZh3It0lBKIrKlqfy4cE9mA9WOLehGP0Z2DIza2JR/WiEXCuy/h6BLi/ATe5Oa0xZ+m5UexKmSAMECHG3DrRfZyRHOFJw746hLVwBH/oIsVdb2SyEzfiM0EBcwtx1LK5beGnDIXsATomWtBUw+9OMEBie+sqCFhIBSdBur1/bwfGbbyY8w+KZaOeuy2KgRxjae7UhNnpi2iO1HjzdWbM7i/JTPgCsYPDaax0KeIlaylv3Q//D7OoLA+KW4f3M7JhmOi38jEGIk7QiSv8dU4y8xuQEWYqP1EcC722mry3DClT/oAHyubLnATJztVIbQ6/6eyEKPbEfDKGUy7jt1n/w5fvtbE2KqkJdVSb0eJY0b5YTdzPpTeeGROu8HgsVqCsYVRXTxhxMlt8TvIWcF/KQKJ4tdCE8QuCd0763NyXK28FDw+1ryEWkgpSqUTjLNu+gPDFhk68sfnhp3wn60NktcGBOa+tUK0nBdgpwQe77LVeHzn8jNFaVnT6xH9FIanKuonrdf+hpXD/9HzzxUMpBvYtS+PNhv6J3IPNB62CynYuup4wXadtiOEvPHi22j1m10W/vKGuAjMCqcvRLQSXyIt44EcsPvxvyoxP7SMkJLUjgxqK8Rxu6IXam++48ZZD1TZVSMVSp+zdqg9o2KOJooAvXDT4ond/yijrB6L5FSnXUmO9N/x7WLspEYXGF611Zmy84dpFk420bcIMYTzFEtxruQjI9M4Ysq/ck/UfVEOAwUdWbS97INveAgSAvRU1TS/BVluOLdwypwg2gcmoeZMIWqZ98KOGBLv3y7pcmo37E2DceXVtMiLYevIHD4LD5ar4RdXRi3yjETmNJ4pPr4T20VEp1oxDLB8Rr/rrQXmkdBGshL/sg620hyFtE/dzSKE1cuS/C/cBNvIjL4x+buMvlHnnkuSNEJqXsHeYFKGQ19maULq8dfIAf/CBhBB3NOy89HfRzjPiz6qPSaSbi3R+hnGJA5xTWQJE6gHSHRsiEiNDFezZGfL3ezuTSH03T6QvBErBR2gYaN9jW9Nmw/qs8/+FSdsYq9TiScsIPGFd3PKSprwAb2/FWi/ECLOLpqHmMIdUYpzg6z2jSxzwIsgqhFOmk8dX4ojjcwSGWuR3IHGbHy2m8YvYbJupGYWPdZVKLWM9wXRA8oFk8CqJt+rtNMHQSBL+ZKUqkNYXXML0jF1uRryD9serPh8yfoWRnFz8fpfXiuGSZLqBKaK1AVQ33KimvV+NStp6n2rmDoCA1pr9X2OFrcDltDodQAtyrVgKn1WWA1w7KxnQPjjcAolxG8OGs+KVSQHirD8RwKYr3WyXISlzQkSQ1W95xoSenceNGlkC3ZTfVzbmejDbNQ8Dfq8gwKy5TQwUWQrWMbjYkdqNIRl6JgR2IG1hQ3YXpmwmwBnesaQNN3sP4AiU0HhFerCFb9x6CFO3DNVVRUsDR8vFTX+Lck9SezbN/RmdoEHnt/Kkx3V30nS30efZKZFgTNdG8a0gF4hXoJWlU77M8ObnzBoJ63XqOfDkkbT93caxbONckA54AhR5qgvnyDA6IqToMNxd/R6A2Yyn0TklcUAFdcZisjBWrqnyK8C1ETPV2jMgxy60+tJNyBBAJeeFPinBQAqOGh1YlCe34I4yWxQuv6flQyA8Swa9Lx8ZKy1WmPcJNz8YBm5QrQF0uaicTm8ksWVcTjym4mXS37CN3URfEwH4zUvKyD6fpqcO63ZuEItnKrBfw6BkuksvIy5pwcJHfSwg+EF85qx+zy7cOZs+CKvKGrntmHN4Ceb4jN9DS9lhkj9uibAvZRZFN5blah0n0wDyYszRXTzvS+/+wFpfR8s9RNJ8fHFlB6AbRC5/ZxCf3s6hWoKzKohRwIR4asPR0AWl4Wsjm33rxYeNZVWWfrs6PKuRgcS1IyDY/jDEiwFv6y/TAb887bQDr06PbXXHd8jS7MLXbqdKr0diO6AVe1kBZFLCeTNaBIpHHnk2MdJWh4URhVmTXZ0t8CqqSks6IepzFde01PqjfevpwWlTazfTTaAX07FKJakvfaGsxzOwo6qUMZ6SvEztTCQVZZgZ3RFU0b4MQuv1M4QoNJNY5ZsI9eA+gbgzEmIJVbEjknAKtHuloMLc08lTReeTR3oS2BXEjiQ/NAtp3a/pWUJCxceuAA7FtnicOPWNF27kwmKRwuQw/bxfq4nbBe5xKLR00YwnL/3uqvBPKKOaSAyJBBLRByd3tm7FF/DwbY0ugRU3HRZoRP6MzhCPcl1fFlc2YSJmjaC6iyyilOg4Y9bhuzWeQ16um6n3H7mfNGTlimEes+mqcVNg6BXSABGS91WJJarN3Wzl7piP6rUEjOm5rW9VIeFYo31An4RD3lqvbYOtR5Wt0ixRCh3/fQ8uvOyiHvJ+F+wmGcmCSioUpeDuZ6gJD9gmCeEbZ5Hcsaa5MD5r/vA5I0rnyPmBwX0oXMhIeixjhC0TevQAxbGc4iZVo/GPagbyzy/yddivZpoIVDpMVvlXFwlxxCUfjWUuYLXsxLdtcUoXBYvWTmdwx5dKsT6gllk64SWPMJhlZaUrm5l14iP2wLuGSRIoI/zjnw+1qn+ez4t8Oj3wjOeuf/rhqugspCTJkvnZBnqZjQMWpbXYRCT1pxmjQ4K7/IRKOjr3XwZ+Cz94Bxj2TWKZXm+TuqafqRrvaCjfSmBRYBSuEO4Gs7We1fXvFa508WlSAA4+uuWqsRXVHrHhibgnR1zi5XxKLKXlskXzagFfGqYL3awjt3QOovr2Afe2ppNepIERRMlxqHTe85+Kh06Ktwt2KIR7sKUdV0G2MiV6QF71gX4/jkIqsQe1Fr2SKXcXvNRZkin23vumBuI8vPdFEylcDZ7qXgxAMZC7jRG9PUxYA09dw8Jiyyy6MOxWDMazukYOoPWEmRlXFkuzJsl63VnrTJwIz/rv6UqqrCf0LQJaZB6GkD7jydp4TfYmpE/+63zmF8T4eLmDG7CDdcgaRsv+rftehJ2+AKVkGa8W6w0WCLlVQEahGZXyiflOLe8KnMsF5n9CWOyNr8lAIAXmUjzR461zsFqrQt1ZZk+VzKQLUVjuhPRrxBGk8BxroMmY9VZYrFnLhMsCQ1k+PPxg/c1ZPgFnO94ouhR54jqlZB4lnHqr2TxgYla2ZmkiUvy4lEttsHFbv0eI7SCg3XzAVvHSbD9GsHvmBrQEwnjQmoBuEXFyVTue0gij8BVeYDVKuRXXc01bfhNCcTZm2q4zCcSHNHE5oLdmcS/5BdAEo/zZVj5pHGiqA1vIuNy+gktZ5V4EvVI4JIheo0xcb48UjzUOaT1ALJN0kfL3FfzCHIAAeX79lovFlSD8pwViiQHHP82tY/LYFETZErTk1MqXGSM6FCgYymXinxcd/lx9qMRHII208u2RxjMH+GdXglHqDqO/73+k4OTKnR45crYDSJO0Yogiv9eIEHZKXWgHlISIbSeNb3x+aSQvZgiUYICRZJyyWIpYlyiPKGeRDJJfUyXbhhCahPkToB8g8eUVwocQaHLKrn5K/HnyE54j9+tZqkSqvgPBig7Bch9+/o0cLxqdqJuGD1KSYRclCDoNK0QHIQPo84Wlpc/xqaWZYa/Eb+zd7UEHg1kvvNfAFhZ8jwzsamW4aLfgOXzM3vj92JQgcSq6DIIJYERJuu3yrfjz/0HZyeC3c5oPJENJIMZ/+Z1Hkgq7IpSxbuFX6Fk4G2yOtYRH49Mv0l5Y9FiGUpc7WPSzNZKC+ljT15BNDdVRxAr/tPvzR1YyyK+92YOgzkdln4nYKyO77c9maSAiAYiN7XTYi0Htjsi43mft+j8ATFnEbsI55JZ3y5+mUajwfkUjWZj+zY/h8SD74oLJBZ9Kb/nTe3HgEt221ZvH9AM6qaVNFjeprvgqNFKPIXK93oGDa6rSOx2ZvDFaTpBhaIKFOw2UYhBwWyAWYqHs8Gwq1W0Pk6Dgb/PDLQiQs/QzMJpYkmOmUgASCmJoo2HBQI5rkJWLIMthtru6RLm5tk4bMQMMg6zeLR9XCbi7uCZk98gem0oLrEar8oj+h3o+ic77MLuBSR7KPelmVzG3wjE8flbvv7BmnsX5qzBfBEWCHaTqe1KqMlx6KvQbLz2ddUpktJ/6eOGLOpjuQwH9n1Dgyac1WEXLILczMVn0SaJGuY8rOcI0CrrvZmTQhUv92hQnO1hJX+SJfiuZzyNI4AgE5pswq4UOyubqHtKa7iMA3Cy7nMzDMX1qIx2vedL53P+/loIaBr+aP4pcyBn7clQogR24fkXbkBXUjdrNQvYyFnWfUiGl5DsCKf3z4qbsvDf8uFzPIKpptvvV19hDNu10guVg+lmQIxPIwbWzSA4jYVPhEHc6E9B2uCQ8e6QvHXA5k1/8iWa/xtzqLUbv/AMj/Tqu4+DMpYBErE2lCIIe9rlP3mvFp9lQS01EfDkmqvJH2axap9QV6ilFw66GV3ZUAgYBrGXSq3v31OZtC8A+Qzbs9nVVdlpSY3x8XzL1n8khTCGuVkh+RA2bqjI59ZMBvoSicDRXqpFerDWR8w80iu2c+dbt0E2c4PkXykZuZLCLy73u3js8ihyFyeOfuhx2r3ayFTQI3adDCtjCokEiKoKts+KaCOyKLDaqfxeDRrs5YHb1jkJd30dwRIrZ4NntcVh5Qwdo0A30VgA6HDSGGl83UPr/74yRhgqoxiMfBEjFsFIBsiaj29bCi5BUPlzFOFk2KQIm92Xf0lrQeqVKQ69Pjrr2vGus7xFw0l+BnUfSWy17h7QrHO6PV3wDgb8WYXD4A9trTsS50NW/SQFSTQIYVbetYfMJDuAYwDEU5HdEVLZcBlXnXKXJEKtkW4ncgWBxJTh77KCOaVIoXnb0mtx/ighmkTU4l28n1e3hG6DIKyS/kv03NbLBYmsMDYtaCJp9HkY26u/cDzCrQvk6Aw/wFRQskrikZx2ShLUp4tHulx4qxflHAWlARNti6KsVT7Jjly1Sh2UR84ySno1pMckVQe5fg731YCCXnCXOfj83KLtQjbH5uBsaXzUOe3yVC5Xp/k1NJVCjUqrzmz5XH4pXwsw2TITca3WLcBSDTwF4rV78TEhRQS2Pg2bNeyZ/oIka/hV1VT0zFp51yapfhpi5Uj4+Be1guYzEYmndwNOcGDjaJ862Q8+/mv+x5f9CN4zkWIIUwoMFavmSnS6Hjsy1u+7nO+2gb+WSLZbyzW9wmeR44rDf9aMTN/C8LInIEVwudKdy352yUH/4QtVDCBRTy6WiOA8IshUMOoyvVDPyb9srxDPI0evPZcmtlZhtTkg8zZYGqqOkxPVun7m0ohp9NgzrFaqXZNQH4qkRNL6qo+e2I4zJ9n93N3DqSIAPatI/tgDQtc+Tc/IXz/9GC6W6wTVLYVQU+I90xwaWxa5CDePtgqKN35OpImSSZ7pJqhCJoIxYE/J8EVDRcd3ppdJ/E/KFIO610pPguL1t0IFQpakSuKT4nZcwZlyX6l2QtAFdWxI9DV6OW2h2TiKrnjUbQ0AfakKU9uum2ccQl64I3yCOALBAFXWfY/h1x6D/srIetquDJUuc8E/HoB3f0xwk8EgUU0Oxxnj/GIt5KsdGxfAPM0nHb3kr0yHJ/rv6qzOi1APz8iskdlwp3m/9Oq2ln+TJHBOeUQeNMDQnq2XXROcxxU45/vnO2AS/9fP3GBp7GvN0yZulUYPYIyqJGcYSZvJkfnXg/B+X3oFJFdPJKgtyG0Xa3ZXheBwhwxvp3I1D6Lb5RcSzjC1A2RM6LEL6+e2SsmP4DkpIptFQhzsYLnaenqk1rxTIyw5YM30JrOERXdGZuk2LYTUQ0rBR8w8tH6rO9a7ukB0uZoJIsnCrxcKaaJnrfkyx3igPrRojIYB2zn/4IrSpCPU1x5Hp9BsX7AOfmwMARbIzRpWJ8YlkCdFOoWg1qlOYaH9o7UhB6pvGdKzsUTRBITSheF24CDjfr3HvdzBFpL8RdVk2gouVQzjk582cz3YzTYL6g+edJMXb/LUP0kJ4t6eBhr0acMCWlUtEqIuNtM18QptjoK2AuXe4RN+Az1TEchNotvmQ6uFhQwr3JOjGkN/gBT3CPerKP3r5ARQvUzYalspEw+ZwysMNPJW1+r3Jraorf0gp10wu6RfTCcPdYH1t5NnHFRvEJsC1TTYhlUs9NSjAy3N12K0PiEQv0WtBd5SKjrhjgJipnm7jZMm/WGLiw/BlCRbuD5E1BO8MYqOZ1lXWHUUxYdxLRchn2PLLZnqq844OFvwBB73c1XGXUlKZiirhW7kAzS/25mhhoqom704zHWLyx+q6CMwLyB3q2MdFqKFLP7sQrXSlsAHyyPr4Ml0mhGkcMfnUy6BOGbPEDl49aF9PjExgxOnVAOanzhrzpope2zgBtg0MHDhYctKv3/v2UhKS7oQCIRU0M1hkqHnpQvkSQZaSniBbOX1LO6lHB5sd3OPHykKs697AZLOfNvR4AxzDph1oZKKlkmLwZlEVVO4FNAN5rRN5JaFoGup3UrjbF+lqBN4dpFdbQgu8JXIcWpaIwrsYM3bnRbGvvqS94PdBTGzPxBo0l5RW/AZyhHK38L3b1LGExqckFTnmZOCAT+JlIoD9pEAIRIyTbcL1mZ3zSAbV19n3yv9gTaacz7F9641kPzPky3N/HR4OGM2eP8qVO31neHyTcwh1/LyvJqSq7szz+WCENQXEVhkS1g33XtBsSDPIYLSxzk67VCSpPj7rf03Riu65AJVOf2YKOMrDOIPkn0cR2ZE/TexHJ/jKoyAwtpumeZWE+iBVUbgGyuPdNABAn/QJEfQdn85dQyfssGkz4t0z3za3WPnDui396BZPpyo+ib+3emg/5VvKF2AdH3C7pGOVNruOghq8BAJHeRaoMciqbt11Wm2gixn/atrpEfZViT96GfALFRdZXSHeH1GTUfjCq6lxm9cCZh9fxcD4mie3JYZBM5RjF/JfMFUmIiJIkX7bE002qyKVn1+T13crFmY44wsMozkbepwKBXMeoIl1DNX/UvyBUz0Z80O7jaKPnb7MWnMybyA10PnlW4z5oox0BsHDmjUs70zegHL/TaDqSKmm5X4OrSDEES+FZXZCldF9nug7Qi9cmd82EKD6Xy7OYbUrkHiC+94btSrQER0cc9N8LTf+rz4IZvmrIlYdFymsW7kCTydKyCkBH1uxuh1zdUkIykbZlcYqstu3D6CMOyLNUvDR9N3/XxtW5NJZA+Wq2j+/2VEYoVbn8d7cv9OwusSrg9sI1tBhk6cIZ+fxzsDxvrv+BhEgUCbOcR8JYxwpy0A8U6yIAi0agqGS3sYCz0rMTqJ22qTt31RQIspSKqsPmOCXH+ZyCpOfyb1wkPTHLfhPPT0LsHCbkQS5V+fW5F2khiGREVc62m4NVI+EQlaagJYGBiFXNTa8TAPHoFVq8IIOstrZF46uqlTWoBeXTIoqRHRRno5qa3OCYqe71I3fD9DLty+ftJlrxOz3sB89l4Zv5U7z6vFTtuZIJYCgN+uJstLWGr+Dv8Il5TCFXM55tanTtXrCfMCir3QraHX/crea7pfPG56CU3n6BJSmkPDtjG0moRu9r3elNMhrGq+AKffWE9raU5IU/2ba76yPdv7DRQlkVvurZRrnb/Y0WLgBYmFQA52Xuqo2081tZurpPu/p4G0BMRSwass+SEzJyNgAgmDsd0H0Vpyjpj2n/Ujekf7ctYVHxLJB/NHM2Md1heoOw2xH9QGhevk8ea2jPfcx2J6HB1wM2d+MGZI2cvhWKD9tDJRTR8qWfQ6AmTJ0ddS4g2c1PolIqKro5mb7PSUOs5vPLt/X7LfajX5qQqx2s1DvYEMlcG6H8+7OsfacxPf+CORrGex5GUIAz29hZis5GWK03eC4/RrzvGRHexSeFCcFQapVq7+WW4DQjaa7iUU1kpr3vdpQjxo4VXsSdwCNJnqKGtOTj1SvZ0LSoHuZcsAHjfEM/Gcxhoors2FV4jretABdLZxLfHt4+hXL9e6sXWKi9YJpddkp6+Ppd8/X0rwTcygFuaZMN4ldbLL4v7F2SjjQ9jlOqcmCj6Mz7MRT9YBc8joiTog0cqjvKECx7ryFf7M/glC8ShwJL0+he5FGVqfQTPclpCW4tyKkv86Ucm5zz4bkatN4gFnWgpkgrPByJEBYvMWrMrzzzw4c9i8RVgjZsPt+psYo/80KZ3K0a/KkZ1b77dPaUAjtt8YDUuVdRIpp7gGJemD2miJXO7358mZs6h8eaTV+NQxRst187AU6tLcK7VZQDC/dnyu8Gzvp9SJqzg5E+2UFGcQYe5llvckhxqNgvji/6w/cQPJLem2XQEUcPryAUj2ZXisOtffQx0KCHNi9ybB624HRv/4KorDyEWMhmEnw3ldh2/dSCtH26bsMqkcnxcHf8UnB0CNCKBe6gphn3CT8zChzWyGZCK+r/hH/2OIGoIsZHWwSZHwbAl/vEZiRiDsdSMpxLqYpKOo3EvPq+/QEtvTMsSR/OGJUG2pXJ1mstiLvOWK0NqPJ4FcwRYfmujLZZfKUI8LgeBgat5+dStvO/kN3Znki9ryw6qhiviNxERNg1ILUzuyKU6l1lD4v7TeLzRfBwmCi3H8Xhm4MCmGexQkPgQZmDPGwrwp1zi+hX8Qr95Mq0qDG9Q74tg71z51q8WbLn0r7QCaQX1p5SbmUqGzViyMZFSRsSUmowdSW+DKcvE5i60vv4u7ie7vAnd/3Lscy3AQih8qXFjQTi73+1nXHUUZ0nJfrt3zFrFyh/F4U1b1QBs995eGJmVCm51xoOkVKlXY0zfyffVZjkZX6ILvXwqGu/8HhoyZuTUPeTN0HSj63QPO+yVr9/JsU26oCLjtjbBls8dfabvF5z3bUzKItJOH4OblaXaZynrQRLFbQTHdjDDHpewoXwHOsnEuMRxlbWbgP4oErCVDcwT6jd+WtUfvqT6oqO+7AYhdfRXqb96OdzkyVgMAFrlUhc07pgML45ObwtEbrfRfpgxCKJ5iaKGKmoHWVPp4nzfWivy9MVjY5DvH5U+1QSBqfKzjMz85NTt2ZdGs4rjtTi194//HeN2NHKYzrYjwKPWgVLfXUj6Leti0j90S56EZsPNoHUkWoQ3fkZJj486MgOcrDv0NdeGeDkNG1tarNq8fBg7QI+aczFWR27KlXhV0XEeRvim+AXdA8I0/d258ZRzUreK593W6d47UWmP6oY1nby/fYG1Mf+MLHk+4oRS/UjR27ODfG19+7rqscnWzVhMGJWi1Bvr0wvMsNDwNwRK+lu9/glxHhyNmZO+nNX6L0pLRiDBXr5ZiY6PNMr4HzOfLT5DJkhL5jo3QOdgG+CNWhEA2CYXI54iTYD+Ci+UciSeOSs12iq6ihOHnklgmBBCI6CfUBHtujeLnP+e5Fw4e3Jw7Wo8q5tqyqbUD+QYQCEGxxk986G1NmMEnNNL1xm6CuIDihKgrFpX5R8Bf8p0Dr+PrlS82vGx9i6PjwXblItFPneR61GkB69CEt0HBdm0Qub00y3B66/D1asWMBHz9LgFC955uBt58xwGx412bCI1xZ2dMpVaLydx8YmqvgxftNMWUYc32KxbN0/fK5HohRg/plWzwcsFE+W2p+vPllgOLBN3V9dXGgzPjOP3UhHEwRjssnWndVkojxRXi0f4RbpOmRz63UFqua27UScWLAbs9P1NX5uOZibtMWdqg8oiHRVcmfPU8IpDQt/aTjwgfnOidO8gQBfy0W/A3b1GPkJrvhHftps7zVve5Ks2mwnbhwzO4ozFTT0bbObJHp5ERJlW6nhPGscKuay4v/ExdMGDYGHKzSmjYLWrSsTe4swlFJ82hWpzAsUO/uGL+68e8mTdLf7dy+oXS34Cpd2ak2uzXbgbc+aV1JbDgwX4sE1nQFdJAfskoAu1LCjAcgq8j3efwQQaWP4HKoWze5my0UlTK3FFJttqo1Mu4VbWZWFsXV8w+9KVPxDQc8MJuEH7wgfkxSp4+k+9yUSpP76Dqaw9E/YcoDoZhy5kb/eIjsF7A2kZc2TEC0VZ893hl6chGVPncBmZRSaDd5FEUk3cD02lHZIEObH7AaASfoWMo1smvLsNX9qZofsRp8P2e2DQiAsdkSezN7//ikBFJKwxmmM8BNJY/TBaKNZL13skFP1Z7DkZC43fz5xWybT4gzumzqDrfnko1t/M2ihl1YZ8ieqZw6B300sjIaX5foKpk8N4EGXBtPcfMIp8BQa+9bEtVL1foQ5g6Kn7ZaD6PC0zuhaJpDVKYPzQS98tLdgWGDyxLCQQSzQNhrb2ceUPVXY6slE1f1ap1VwzLKIdbX5Q/Ur0RqfZst/A91VgDA/QyLLtB6WQ7SI8gnwUEZl5es3TdLztomSMcK73fZe7dO2I0BX1oeZmceOBXo1IaV3cRZCE8BG67X6J0UTPIT/7Hv8vF20NGC76uUAci2IUlCae8k8/KGkS8s4QE80ZE/e/wvWscSfjVgsZvS4sN/7k21H4TAkVVLtVYdz1JAf+f3HJvIKzfJRXkQQBBE4cibFL3CMDVuwiloJ/3k8v0XmfxhOrSfKhxkuSE7DAFx8Mhwl70jnH8fo8E2zz2knnUxMJGOhQVFGWHlBB0PlzllHhJSLjk+9tB3IS6/YbnocNOkap87Y4+8Au1keJvEDcpfiHdp7ikUpe9mDegK0SIVTHyN5JFys/a6nXRM/3YEcWZmJPLL4EXi338ehfYfN6rnMerd1Qdx4pdnRa6LGTlk/iFcPjxgQ64c2tmb3qrasgyCzN3eOSI4YBqSlPc8+uqgnfntY9/2bTquvxrBoOsweyMOL8pIz/KD+EYtVLjKHcs0T0jROc4JKXhYZONwxGOKq/k5QgokuoBUfjlDd/3jAzyugtx069RJPoTF/w4HmrRI4xhfV1Fdp+5/pJMguoLdUhrdzDod4+/X5/HlsXXwiugnpTM6Gbt2q83LXZcmvJdR88qhnp3mxPC1SXZsZ7/w4iDM5yDYhzrupKbFIh3yfirdutVBq4+RqJkOIIkQ+jxbF+52pvFnXsfqMRUngLCfsyH2vjL1dG2WNvRqjLE92rPj6bzrnL6SroRMziu7LMqa6lcSy6s0KMW8Xo25s8l4Q1P+bEpl6DI4EEeZpcE+pH8Pgx3nYcCGMdk/kPp8UY9iefkZY46CFeeb5SFPe+hPQYG/h9FTgK50BuVQMTG0BzvIUcF03xNpxYIUycTkNfBitSqAzNDdvFE4glI5y1v1KZB7FlyPUHw78x7wqTiY4VUMipenPyh2RhC6pUw7vumKqG3wTnhxRM5bBPTc9cECtsfmd2nBvGicUhcRnDTIKs/ywAbF57vt94q5rYIjTlNUq04LezcZFrbE55kD6gjR0S/6wc2WnrE/4BTMrg3Id/YSfIrDP1M8Iuv7bXowsUxOuP77P703EWUOpC/YBm0SBYGMHWousY/4+oVy8f1zoxiNnGYvfUALtV4CvcroaK0x93rtNWr7U9G4pYgPmZUmvO5MDNxe1q0nR1X2ZDexZGfj6oQn+ibuGE2snHNp9EANpkN+mWXqKDdAu0iiFH7r+OgGn7ehzeEPqZMqxKwHoWNCg3NyHtI3V3unwNFKP1C6GuJ4+ZMHP5IDUZYPCbWLtp1VnCfuGnfvpp6oGoHRtyTzeGUqCs9Wgv4TaWjeuMaZF6EIA2WyhmD3Ebdih8OZYIkS1gePSU1DbvlI65GvMTI76tVsCsJNHV3OaKHS0GjJMdI5VHRJEqTPiRD8AEmJuxbolN8Kr3ecGycpsQ1KrTmLcZDgRb3KK31KKx376I7sQKYZLg+z6JkJfXSTPHQsPRuRmZaK+0jSkaD8HlqAlkORCwtV+LyeaRjriEiXiarhutmCvPS3g5BmlcFAJxf8XCXENqjgCEDzEd/idfKeveAQ0GQ4K/kQ89NX+I8R5SrIbfap9pCsGICBItpZAbfB7G2HqCo0NC96RjSu5dwv8Umx1LyPxdjiscdG6JCexdkVlVBIWUmvEw39mTIFutMPZa+JwoLM0R+IWp9hq5Tl7xMjfVxinAXlLml3uqp0k9hVasSKrTkBscWBDglSJFsBrrXfPapBsWz0izawi1TA16xIYvSrGK+yUbsBjmA1bU/FQ2BjNce2ugn6uUf1u/RN6rDtZRf7wSQZe8W6oLteTyEzOgTXLjaay1at2KZfJxghoP4qUW217e5s16IxWc4dSQzZCbOWTrg7IZZHlF37TtyU4VFHv0xMoActtisFEWwDI4kkSBOex6kqps97XKhZbtvJ7GNa7TOVLTFRoGcsqu7qvBOdHYQELjfFjczcYq9UaoZdDMgRlQUrlk1yVIMW5yzIlMvTkcNoftFAuPLHHLQqGcj8KgQ4fd/68s8h/Mzx1zYT+tH+1V6//0eLO911UR9kg7rC9B/2m8hbs2nqtTRy3qG86o4LPFnq4r/6d21wEzV9dDNZC+8HRBffY0ef3U1TRDzWMsLd2ybFFSWmFM8qY+kGyJiYywf3cKUCAPZnzn2yscFiWXUiij0a/Dyqigggdyr9VkJpBe+QAPEoRQ0OZAnra1WUn9Bwc0I9gGMnIwhQ2jIdwEoNSPnNodXxmU+3IM+wtA5H9NgzYRS65vo0FR08QMuLo9f0NxtBIG6LAZL0LeDwWNKznB0D7+CWPfVokbxWSr3Y8Pw1oOYbmpnw0yWcppTWlgZC5CiBeikHjDmqTloiTM+6b05uL7DpbgILhQex2C5+/5gqKilyy8vS0ifOVE8/XkQmCzHYTCNqrbat0JvxMaLHQeUtCS6KXv7f3lbfLm2M3czlPalMWTUs73XcNlocjnzLimh6bw85ow/uqBf6sxCZkGIBHHjcWD19sPVnI1CI/sjDNN/QhSjr6wv/cUoMuB65UVGOAaAeh3RzHBTp3d5jTiTMspCMuNd1hC2ycb3bKwwcG6obYZRVKUTCvMLOQV7sB0sLISXXivGle1Btk7T2+zATJQ3v33LHWgH4qSGD0n9gsO1CKRF8jCRWw09tfao1xopZNLz1URXn2cWMuuybc9krI7+uPLBNcB7ZXNjOOFHPbjmzMaEair1LSzoADxxGuN5gU0hfU/MWvEAMIrj57jh4Xw48TX8vZ5ewDa3sgWaIurkbkqe4E2FMkvmYTwckfTOsYMD4j0FdzSSyyum0tC3DhUUmGQj61SYWKuyeVtrSISBbJFEZ/RRY8RCvSklSJeoyyK7uGhtsVeU9gyTn5Bfvr2uPPuPdJfJ5H4ps87thUU0K/50OrpsPXelakFSO5jYKncLTB4SusSgDz+5GHuyAt6OgeK2vCf3dmnDeuIsg2Fz6eSKdlWfJeqv9KpDIBAJVLIsOImsaWOuZkf3NmjwL819tB/xgcznSHvlowAnMPfISTNXWlSORaYtNax6Fg0WVz9kbUzK3xNJvhGa5/PaJzz02XUU9mFGj2zfRhEVC9MkPpNDZXVbWRd45MMk6vVBUuiWkaRFdG4EvgtdAYDhi91NhhHlRcRnkXYqLcLc9toey0/t64wx96g/SpelkmUrZGDMtD9BTYBpeaV8ZZl8+rhJUVUTRru1AnrjzNbrj1xRQAY7k7eCjCJCGDIeIHdjkAU4Z85FauMC96bjFVvjXwWXkXE08T4jxxHefmnNEANFEdRDQlwsTphIKZ8WUk/gsN0SgAuIFvUpF5pxfIZJcVXpDGEX0z3q8FzHT5VrjppP50+JKFMFhI/3Fw8MZU0Ar6rl01h6IMnWl/U4RRbe+yJ2FCll7wxrnX0E1jbA+e5qR05cZoo80T5Usj0qj9IsWhHm0mgdVBcGsQB3IwOete+BVNEbbbNggZXRrWyNPoQTvAn6rxvmpw5AxykQOdHE9bb5vy23EVhgXoZ6O3CeiJg0uTK/jbdAwAtVOssCTEoXHbFzLEOBZSWYITtnWYunbNeYiVkKx/U7mFCWwnMbUGB6AYsF8PhroCoUphHWc+B3iG9H+nXQNr8SfbCvZ6nBXGIQPrZRQ/fapSg6CrfcyPvzXPtCPvbgwR+Vkf4FPvrulsMeXJIhsOsziMTRquBaYjDLqMJ/QicsF331QbSFQCLfvXTB2nfinBLMVWzqLFZUQdHB2EGL3S2yPE15T3BKYw1xLScJsfbhvfrUphPaD6j5L578Xy3Jg9xT6UAhCTrtChvquupfFEGTlsMfD1QTcfEAngNwsC5ra2/viTV/R1ICuZVorQRJgSMLHCw5y3QlpokVNObX3xBFq7NG/tB/R4LSlBQVx9jF+5qugmzIaCVR6bA3GrRi8BitShCxUIoPeQRof+WOHJgMhvST8XxGV6hQdgtKyXibHRL5Vz9GnaUcaYKtpAnlJ1sxSPvVDineEDN9UQFGvPHvxnXtSTuA2sn6EwWzj/s4jpD7iIt0AyMkjAf+V+UQmQcx8pFjT/C4CVQ6YOp4gP4ehmDDJdqB9Uuxxm8yttys52KRuVGlJc/II+T3YR3PiFBoS2mF0SjhBLDs7WgYoAs3i9cQi+vzBr1kVGhWHatuYimluacDsU9W/OPo8L/TlRpFLqfCwFgUSIthvCg8QFn8fMK3sKWzTSYl2A1K2PtHGHB/tFOlTdqRhJV+gI+es+LnUubGXYIQDlW6b8xkWsGVZ4rTEoQT5nYRPzhZdcc3iicQNZ3DGvEjslU2Sjs/6sMGP7RXYZ7SkdcsdYhB/PFvq0DR7MFbSSzDju7lFLjJNNE25DIu1c3NzZtZQgl5epZlnTPCNGQkoKwS8l8xk457MfnPiu9RyriiP4GuYSxkNGZqMI9Z8+6iXXbUfe9H7y/C9ahCFdk39qbfnEJYrv71djfrXHoDFJIhpfu3Ccz94lCJocZYmBym0ztxGqm3E4X1J6vDIqw2CmmgOyfuDDxj3ShbAcw6MRVkHBmaJL77wyB8ZFcNcEMQGwrbG9lRKe05scMVxW8cV1EJJZ5kIIV/jMKtHfa+X2QxUSiuv3kFKz/8BRkr55IiWTEI/qX3e4tKVQxiL3aDEdr8ODAr9TfaGzaJbraXNDrrNkKnWUOSJ1ekHyw4Cnooe9v4QoMNjrf9YvScZTqAVXUJSnbtp7IFAplJRaXVBDs1i1aQ5AL0L0lZfSpEa3zgWhXAIuDfLijVcTkNBdrZkOxrdoGvWi8QR4YvlkzPuRPM3w/X0E/PZ2Lagw2XgLAKTNa3UAcZxDuk1RF9JUZO/vDtQXjnPjlULGpvOdz+3jfplTCoEgEW9kJ9XenHxPiHVWTmx0EC5ExxhnCvadABILm094UR4Rx1Ba3uLv1TqNwRzH5J/PCfboGJ8d1+TiMzx11+/A2jOByTOMfO9o0+ML4wtdstJ+5YurizPTo7In1eTV07Cp6nTBAxNh0BkRlRWKjuNTvPvk5YvAIAsaSGu2T+4NKYh+bx6tq5xbSmt/Oly65Tp4qGXYVesy2djnHZn3Btq0PfQvQwAet9xb/H7BN9/V7sHsNv5V3t6CdRGYE2UL+2LRB1hGgIhnl+MW18hZrJdYnX+HK/FXgOBer9q7jDhypAlzf7ytSx6kvmwwNRX2caQf1u3k7mFa994htrO1Vgi+adROvfsZyhcwsG5vRCGcAO/9r65FdPg2M737SnrKzLU+mENR179xUh5C5r7GA/nqYsAptr4bQIuRcFxG4yxtuYA60m+PzDsqYnV2uTzVvJO5wcpUml1UcK6kEdQ7jjrKovROoW7kY37zRZ6j5/R3+LUfdzhc5onktKtTX0nMlN8c7Ir1vayK5OxlJ2KzqZ57o+Ir7e2IanIq9omafNRg8OukzEpH2GBLsiW/Ia4f131sBjzaRAUu7KnuqqiNNaL8DgvRTeT5NPFpHveBzRf/+z2Tq7y6BjCF40jdQhoa5hn0urCMrrKCK0fI7k5NoVbuACpqJOywjI5uH22eHvjZLZ3c3rzTlMhE+6BwPGDbhWha5vU2VwJ6T8MJMOi1JzwguJe7Z0ws8IFQeDH+ofnjy2Rfc0BsOq4UIYvNaehHhsvOdpE1F4dcQgnzruulfLBgZXh9+9tzroZ78deSeWyXZw40Aeff1xkVEZaDaD4FDITHk4EwvzWksFnCG1fnlxd+QVAsbdnFjXp11JZhfdzF79+jhTllAUS7QvLeUWcVNgpwSjQCCH8lguwRqWdl7xxnPQnLg4/3DuJNDCk5GBhqthNhlEbTLJFsrE2wZmdSuGSWgokyB3XOgWgcg8KtGSyEXqYu14Gw4/SojHsxhcsBMe33C1wiHcwJG7m6dajDy0F5mAGRpJn42jm3E2EfyDZWseG0buZKP2Hpm84i8aArSU4i9fEAmaRS6KJdLIL/24tD3z7HIY+KBqpdh3Q7k/rdXkhtr2WftZ7BdbpkgMIsPwrA3ASTWiL5waCUO2MXVDBjsft88nuZE8lm3PC8vRLaFQ/WrEv/8b/ioRtzhPgqKzoN+myS3I4QeQGpTA8M6zfjRBEwx99s+ThWx9AL1n1xtICbTyMMIM+E21b8kZPlzkl1gx0LWnPublViZgBTaP2TIpoPv7JougG3jbnZ1QPNWU7oZnpu7KhPGlwODycl+izUhYu046DILvpq/FWWjZawhvZGR+qOpyhUSRp9wL7IaPLlfPymNNGEuT83i0Z0EedbsdGnlNSMuLbIG4IWnrmARr1bT8bXwfa6Q0CZ/dxEtOOncaKmR8IBcMBo0zKU61gwaIcP1eB56EX4kk1DjUxQWJG3K1/kMDoXHaNeExeXV/lryNURB7cBAAkYvIqVy8NHcwd6xMr2R4ZgupV/q6hKQhfo2DItoHaqFFqfwpn8PuxgZ/ucyHx5GaWVkigtrA5TGFuAoRGjwki3I6e6PskFty57JOlm3BzH6Tt4oYDMnlh541LvFy4j/WqxLjSP0/vjgr+baOYOkQpGuh8BpbwCNtZU5dU3+nXtJb4BlB7zA0jW8oIAZw/leXa9eXPHWAji3uH2A5L3gkW5x/INCjI+Fe7ZgSvEobz7RvVq779Y204h3RUY1QWKRJBD00NUWacuMkXFngAMrZqezIU6NatqQkIM1tTnq8kPDouaiLPEEWvWONWAFZjVGQoRANN1wNhnAO4rjI3WLavHICB0Z8eGQ6+OF4rx06eMFEMVxQXxSXgU7AGTkUEanWyC4y+vU3JfvVQX/+tiMKLIxivKWYooo1EHVfxDoBdTnLsYuY+fmJTLvrHiKR2g3gWBHhB5mErVAjNFlhFZJyEz6K/bD9EpNzcqzqw8aS8Ept5FvPGuN5qxwkpVPyTOF9y0B7rbaPeaWo6MbkAk6OTMMQOJ9pf5Sw3mqcbH/FLFojJDh28xAEj22oRhqUqE3C9Rqi3dhXH0fpExCw+8Yu2GSkGh8cJ3LCl/JnOEe0BG+7xP2Ydwy/jbnWwDHmA4pLDgaUQyHzzfHJxOK8X6pbHfh7w2l5BYqir9DtdOr7GnsLVjdVk9fxdMSYFJ2bm9z5UgYyS968RMzmS8rlyKNJSQF9P7eL0bPTCnHlF1RhPCL1seeUiO+q3rbOnu7+qQz1TV+/V2eUGW58gnpyWHgk5PA7vmwIHxZ7MXIQ83diyDEb7MDx3lJjXNd9X1l1isOyTsXC35HIfbhLq1uFmpO2pDFRDPiTQ+20SwZYzXylsA1ExELq2KeoxgNgEb4UjlI3398sygCwUax4r4/e6IIIwZ7tFIRQyM9fzksO/JvVzLkgbQe7O0N68viR30jqcjhBMT4aB4QaDMEo+PEZSckmzRqghNECdQdkaD1Ucsd/O9J6o9tEdol3boCOUCU1TBHk6fFpRfj8etmyyuwlRF/CmPJBTlFcBEQgrErYMHUOX9UtsT836i+Fgxq+4CAabE42Ab6nbf65y45bABnC6VvBKiQSSwND5BHFvGj/qreMPY9i4bAM9ePx/kvINNaF5uzL5fazMVpyED9/1GdNhtmXKQw6xw7w9pfccfNo8pAhkScvXiym4pg/s0oKKpAe+SJtcpxwI4q8yErn3vTYMggGHfTUovnSUe4XQb8e7ICY62NpcwKho8DwiozAAmV0L4c0ngIuY4+u4uh+dJxrUPnrggqtFNg515+ykpf18Zvh2TGAnvg6wr4a2tls7r40AXUW5f660XkK2oIX6BvbIqDOB6/oQTGRIEF2D0/YQWdpKKdq5OuTsYY/6Rdff0dSZvhkP5xfa3/wBNHo0v2J9J/OTHAGTsFoHZkQzFUnEqmnaAvHeYCoHbrIEYshyKZAKZlm3q10YHW5KokeyKlbxfoAZsh/06Y6mp7NMY/AF3CDug3E4B7coEMmJyVGQvOSAMmSMpSAnVKbMOmXmQeY69lB71+R3KOhNhE9FxX4QC37FQ8WvG2roqvsRAQuBH6jj7jK4YumKUAPcy433BinNv+CiV7dWaRsKYrXYIm5T9nLI4s+SxV++CNXPJfUEYuUKyXlbhs7xxCJvlEc8fXezYDm1kcIHFZtluUtsV7joppfAgnob69TUxJE9Rk/D41pS5gEE+j0xKkx1u2JoFo0t6DUCw90Ty3sAFFpEJ0fzd5ppiQ5X4QZHY3Ah13kv9gZ6DYE9oCrWMhNY/AhaxG+3uv78P8D57K0iYpG8qUCO0uoVZQUCSwMbTwe+S13BMTdpRpMokOIAoZYAkBA0Lqx5U5zB+O+//ysayCReav1GnfiPqNcQfdpTTwL2ZvaVR2bkMiSeOclkr/LZP0yR3gaDHhZJgbRpehU/dey7kdWBd82WpJUxzw/00/DMbfyV2fow/pGInqCyJK3cu2XqVNQMYr/y2tOB5Naq7EIJK44nB/eFrhLWkgy1W8+5hyqXq+WqB040el4kgeRWehPHfeRCWigrNDbj/O7b2uKxGA6XA/zpeAOtfmivWzWl5MX8mBi5CVFNc4BGHYkFp3HilKW1W43Nw5OuEJash3oct73jQxdqkrWWIw9pAouVTBeXGewiVGk+91CuwlCP47NBIyM41SGUpzVDUbnWH3HAo9N9YyuM+hRg4Adr2n/MitNbluku+2ER31K2nhUUc3IHCDGnLxwigQfdYAqqt2q+uwpo2ba3fLO7KvOr6fFB/qF0bWZvD48n1Ac8jujgrz4zEOzbc6RNpMpEITamcWc1Vtc6MDC11DU7Ety4ITTwlrhvBlTzhSKYxrhoZknz6JyJhoa9QOmLEI2RFX6dg0MVC8jfi5AlEkp7jqM2980zQjDpQIxITDqBA2QvfSuILIcotXYs7F1/x+4ZZOVIc40q32iA6IMJnliQw4dvDh80uFviWwuitFTsd7eWIZo7GcGnIMTrtKIVIIXqOOSH2FzNV2l/MsOMK+xXsgO38es17ge61EnecSiNgtFy6dnKQuN5em2nk1+sMQvkmTmga2tpIDBpPS00M01bKt6iNSu9SV6HYk9vcjPyb9v69wh/XJbiEArdnpPVdZN+8PKY3V2DrxhTvvviHY2KpJEtb4u/zZBJ+Qon6kvtZsYlE8BSRBuRLYbncvD/CnCA5ftCzNR+DWB4c0O83CSqQ+h6hf7M8XHyUQtccvsC9qh4UIW1jL345TB/lluZGQrcW1TutJbhRmbWtgi1mZ6gCfYse2E0+rXsSz7sxUdR8TMTnrEzdZo9HMtcM5sjQOnIc22+vyocFsn8eaCNCDUBcOgEtphPiOpHfZCy+9iDcdgL9Bnd1sKuQQh5DOEE2fhEqcX81qm300jxGKk3Ig9VTQfmuLJYyEkZqntBjXAvRMUyaqXA4R2LEIY0ZZMGQNUpsg5pGSKln6tk6Kw0OKPjYl2rVnsRZvwn2lk33xXnguVENcQXCwMMtAwJVV9+nxRwy+y9d9QhEvrM8Xqxss3AiA+cOzM4rPbk45EZK5lwzQe5DYlVXCsqow4xDYZApt1JIndFVWcB9wX/UHqHOq3H3+GEn6AJ3Vt+ySGWdDPIIzZjkLN+Gc+z5tyJXJe7VBZuYkAAWOYZ10qQRtlZ0rI6NNmQmDQ6L+LZjudG2w6fJvcmwbblF9KbrlbcoyKImJbjwNakHF6bT8I2DEx2uxGg4EfEykNfUuj5gJkUedxdh3JZoHmBBBBvjKhyyQt4S5a0gV8EIRGSEep00/Bs+OWeGAvSUGg+lyPeQBo6KffPLY54GoE2xvjs7buE/hiDRTEfTbvIRhpFCvka+elxfA/g9cQ7nAjWFbaVZ7s5Xb1TSHZ0vFQkvQRm3cfSDA25gnD1GWFbF15Pjx4qzmWoelLFOhLfRdLmeqYNTKagIV6PW8r7bmVjJRfvHMyN3M/CLFMbNcPRxgqKxYG6SdHf4KS5b0SyhwaV7QwlaAvh4HlCm9PfidOLIA8sYCHRoYA61LRbKVlfj4Ce8oNDWjlJnsh4hqRpwGaoupMlJTbph4WXky1/oG1uVJobGE1rBw1aSdX2kXKCfBCn/06MqzXFTVIPJLaTRecJOZDyLNL0PW7on5xnGm3Z96iw0aYRQfwwA4K270eEySpNFwi3R0CbBXaPdBwnclk0wKqYE+X5jTLV4BRFpkaB+BVCJaZ0YOCi9Sy/00oezj079hvENXydC9vkwqs0MjCkhLhP3kuY4iDWUlihny9vqsu2AImO0Ai/dwOMDPcIQaOPxe2VI+zc0vyoaCj9GvcT9/SK8DCWhMVzcpdVhjIoj3ZZkXQqKYTmEat2LObpwPh/KZwHp5LGhbVeOAMnIpH64sxyl71fOJL9P5b2EoYtkYgi+ZiXhGVR5Fs85mf4ejsyiKfobX4b1h4opTV3XOBt8zM5HgRRvRhnn/mGK5BYqLNeflfN5iGceyJwk2TC56RAN+++dHUgD3xYW0qk44TkVDu+mNRLcQk5h7WGhG2ym4JFtGhZKrj1+68UPFrakBwF1FIU8uwUVQvXMak4NzBZe3Np/2ZhDScWpeIcDYMRPJfzgn8MlimBov+DP37RQK9DQmo8lqqtIB42tWJylQYeA1qzbnho8q9vgnauRSJQq9mDn9dBnafMAgX+gyau48hAGDREA0ZLstpzZLj0LZSj4ztq2k9AEHxMyQzVaa3E6k/DASOjkwae0dxn0kqjS6drHOd341gbvhPmnfmm1Ny+LZ+ha+Fl41NbI6dI6v00+wmdFn9WURwMys/F4NI8XPq44YGnzNOc5hylpIZb9p1AEjLCaRZDvAI8fmVjX4a5e4vySmP790VEy0t/7lsUPSl0kBTxOAJuyt2mofDoSaJw0WQHVesTodb1V8+aLHYLNI5+SbbpgoqFk4IMxd033sS3lBkf8TbO8fekAPCvbyIOqOObO40qrCT8xcFcpj7yFyo7VhoWEGLyZlelWfyLUjiCzMZyIsV4k0d5xG8TRHyFpwE9bq4LPyqpjBFAHgzPR/3I6pJF42MdLSMSxdRemoIF2PmPi60f5mwgJQ3CVGNEJu4IxCGVmUdmGMA+iuIkpCdHTRJ5uoq2iPT3LDeeB/L3XPHigB9KdibKN/mYD4+IJPmlTj68AqolIqo3iN6aML5IzWAwPW8zyWu8LQFC6aTcDsbY1RtBODRRYfqn8ZC+EODPVbKsxbUTZlYJFaoAJg9F/iTJXq73AI0IQ83qNugX4tgFNakb25l4tlCXwZiZlVdyJuq+zCMop7BMOG8BLYHNdKjFDje+Dqg3KZ6cNF3kfdFfr5Fk/wK7Nz4QgaUjn7D9Rhmk/8tPSUtbNa6vcGvnyKnuvRx3iGpRobkAR8SFGrYtkA+ZncB87VkS0JjY2zhZ5PBiEBRYvup1nahLG+L8Ud2PBywwYsucwaFxOoRqwiMaOhMeUnxpt9TXu8BkfSfkbp5eHHQyIVrmNAUM24W+AsQZJi1E9Zc6CKSLHr7hQYeWgkD3RIGmzRKwKJyN/LIB5z2GAbAu6sXusnKWCb8rh9LKNDE8aiX294XjZ6qkvxyD2dXOfESl91S6YI4UvgdWSkwZaIpDYMU+zvl0Oh1e68CkE0bxHeAebebPDVy+A6Vg0xeuAfaypmD1xmcaP6OShlNP6TVBWJLf5TLOImS+aUWT9kvW3sVlgUWUnJFJ1J3557+Uby0V8LbjKDrLJnBqe25n8pe+pgGNVyB5FFoV3cuie7kxQnEQTMJ3Mqg0GaNrRNf5TblfrDJbFEYA4K4WfvkcwwgWi44t6NNaB5iOZYcjQLZGwXGB7T5geapAzZ0HlFZ7smmj8VNtYqTyHemfJ8p/7T857siECpOBCDpVkI+nomZbL30apSjjhsIowufBjF7Tjl33LNcdnJEn8bKt5mQkO7pIhjwIs8LE3k27QGCmHvbF6yqjp6f0km58j8oY+rn7Y+uDR6IrEaWXnQQNav5M0cWDc8ewHsA0RgUUpvttXOcVf0HD4ebwLmHaR/JZwuc+O7Xmsj1NFan7uXztUmxVPLLfAoJ5geOKwTBhO9BMz9CzAnJ7Lu6HA6wnzcpafj2UtcLZtdrRWdsiZdp+zC0SiAIN9aHIxA+WjwPS4fLz098J2kA9w5gzJsyI9w016DGo4m57/SipATLEjq4uSTVYvHQEUBs2FWUrI9+KguWsTPX0kMyrxH9gOegE57LLM137UuNZx5UPItbfIrrEKjtLwfRL3kMUok79kIviDGJN1mDKBu6t1U2Y5y2VAgje6ntKsPZQPS4mVV+vaN7nFzZbbdqmDpxF6UwKrmFRPWpLL6fYC6QYTmICSCMGS78RyZQ5/aLfrEN27OooSwHuw+sLxTmlF6hZXWTF/0/FAoP1QdEUrw0cFEm1Ps4ZgvyHmwfBPRjANYpYtKC1HZDzH7v9VzdCEPGEL5a1na+hyViKmIsLkUuB3NuxPRXuFB8OBzebv2jjh7VIKILlVTiwsNvDpw47SwveIwpvu8tEFFCZF/QVQ1nf285Y70M/iaART3o191Q/Pp0o2/wmtIzhZcTLuae9GWKMWPFoByf5UEHDCBsK5as8+Covd1xXuSvt38gG30jAm11JzWjlD4dtQqWTCsHYeB607DueRrQ9O7dHgWM6yHXYGbd7FQ6VvPnhXsjUXf9CWj1hxE9g/EY4FgD9kccEc2jsbru1umIfu1os2/WXIVyi8LWHnm+GIcBi/cISmBOo9jdVeDd9h/UlRwWJ7STBn6+NNlUDSgzxqo6ql7//78lJN0t9sCKqWGxiGiJVT3/qAOti7hnBWnbOhJXIxaGQeS2daeZ800XFjZB7U+QBFP4wSiWZ5v5LNs8D87Y/BqGgtRwvgVWi6s53ncJ9QBriq0mOb9hMMlTFoklrL++KMSkLeGdEI94QJge5U2yMrpdoC1UWKbkHOIx19MUPf9oJ8Zc7fht+UAxSkKadZ9ySOxwF28+9iX+Jx9O9+YIxqezaGHp7miNaBdbCokjFYAVoZ8/j/m/4/bQojUNDv5tO1o1o9VdY4yOVy5jlTalXbAa9Iupt5BA=="/>
  <p:tag name="MEKKOXMLTAGS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/tH87o7nelYFK2VXkEbEex9aUA02L9wUwfqjDLu9Hk01VKVS+tme92GV26vRMSTk1ktVIaBsDd9XorqWmk5JMi9vcw7TvhyAOYF6IZLRNSpHIW28Ivji3a9jy7RTYGv0CEZrt1fVJ+f9EegbxXISlMfzFQma4cCj2gxGfZ059S0QPRDw20KX/MuoiLjXOuVvqnl+FXy9wFphR6brLetC9uV25pCNov2OBXb5GeB6TjvZnYmRFbwOty9XCNCI9o+aM4aaGMSBEnVNHfQWJdTrwxsQXKmKWUVaEIPp3gy6FSXDskGJGdffRC5/ph3lIJUz59YoVmaxCN9e/31v10LqRIZM2nbN3UGGTtHr2+aUoThu4Eqj81iHsQX+qh0ejDpy5t+VVNdtY9cnEuV5yz5jpRW/sB1h6X6n/sE6gnzXET6wCgss1oZneKZoWUA6Wid5dVmFrYC1CXaNwcGbYLBnQse+OxyN0j+ga95xUE1FMHSrKWARpmfer3fKoEDA5Yfvg5UBqHt/m5xidsPB+rAZyo2MvK07DRUnjg9h5gSEu68m0aAFHKf/8frHgiqu/WUJUsFd6kZLQGQnr/kiaucIHFgCqVASHX/gNR2YSn5OMsnKH6d5F2PhfDqRVXvdRHjBj2G419ku8kI1HNYc6Pmgqc2YZxS/oSz2+OQa+VTIGnY8Ne/cpAbv+A0egLlwyeImCbnuueFDb3T5/lBzE18kkaAcB6yvZkZK3iTf898wqYQgrbkNn5fYIBblrrmXTq/Fk1MtqZneo7QpNesXVh25HTmVAnSrvvURQBIspCVXfmbxmtsVO07/7+G9dNbpJmRHurN3w3tTu5UQ0YqBmUewCJQmBUTNF+ghzDaitGDv1feJLmSJHMLgmXWcP2FsCAmOS+w3wFXJ7KGfcdb2SHYHM8XMU5AOcrPZKpTYA+O4bUQ+DqXszGGHsR6R/nGHAStunLbk9wJjvv5jUoHgB/O7GYTuW2ShDm9gysLmnj9mxrs3CEBHkmrY86dPgeHUA70ogajUTEqZ+pL9HwfGbNMiTREzIxEOW+SDkUZXv03Ru7KCbqQYEGN0TzcQ6xaBf2DxoHNoMdoR7xemKaEBi8Eh29rvBGOhzYqrFyrI1zWndabXiFKsNgWZDp2ftCMhNXESTsJa4qx1Sj2hAJcZDu2jLRkWmHKXkAdl8tHkrSyVqZUgBPDOmQp9n5TmufY3MfFKnCltqNao8q7fyGuQsTypFA1jRlpgzW7CAAXZJ67ADLjfUg025m2w/WqujPLVzMg5oeXmW2l4aDX3RpNGJDc+3f2PNSFA8tIC0swD6Une9nA22iLWAmss9yhudO/FHLKr9t3Vwlh1pOaFJOlrr6jH63J9Y7UEyTpGlvBij/KWPrLw5KSBVNcuG73ggqV+/mU5mfJ333V0Rbw85Dyu4plg4X+7mvg1ycr0JtRV7mezaKU12QDqddr51S1I2PLnNNTVwSay4zLknt/PkEKY1uYASVDHrRRuFbPno4U2Yx8ZTf4liqhCWpmp6gDpkZW0VSV3jl8jVjMh2iNmV1jivXfTJP9V3QX6+G8+36fW4k5LfctFx0cO8tqT0aM5nrmJPBHTW7K4mlVK6f5pVcLkKfREijJDqNMmsEAEgT3TZbW0e0yR8ylcG8WoqnDtpEoYV1OlsYFsgXUdXib6MhRUAhLW/RC5hfmW7ZCeUCOuyjnEG00Ws1h++/vKlgSm9cWk4Vs4k6bpNuYH4T2h66iQHCDw0sQiB2Ox54vPgUDZcqE3P1dX0qrDC8Ksef31RsveoCMiFieXyOfhENawT1GNX4j3ecIGvA70BXNNHT68rIzp54dK2mrdty5UctI5EmcWMvlEbkOqnlhjN+NAUwDlR6yU80c6LhcOI3IGYyX+AvvSvitUpqVkJgpBs5B8Di1kAcRy1WYzgrHGhElk+NjifBEYfVBjAgmiezIdf/R+bn/5cP+PEqjXgw7Jx3KJ67TZGEvtnHClqc8yGT1U6+7Er3DjAyU+TNEP8ogTxIPYrO0Z1pYHduxFVUwfQMDOhEt4bj+yEAfT8moMsYGELTxMhVBnrB7S3YFCTYMGBkOjaaGvirKD+ZlSC2Ahix719CCpWTpTfWJpHAlPtF+2mEAp4w7UmlGtYypx+PcmEdrqL3YZGVzIgbAT69WmFDH4SP0jssnIJFQ8jnZU27EG3NmT6QX8yheviYF1iqpvUjbERKiQvshCqN6sHFsKfCePA9tUKMw1h2apl2igz0wZSvrQ+MhwVY1p+KKi0ZOGXjNAVY2yR9GQaHEz9qcV50Aabp+dhJik+ctIpRjvCu5NskhLmzb0fLt3wuDC4tBwz8EdOfYc9ISI2jmS56FK80ZSKZtqiM6jA3LChtFlxOlgKGiO12Lf8GcLiYyItLX4e6T/dgwmGZuf1tfm8Shvksau/AcS+18HB0xBQLZbU8R1m4l8Gy2DW9TRnyYtiRXsrmdnnvU+x7bkxurYwjrhoda+/kaehdYeEp2ghARsrBWMBKopOOTgQl9MH77aruWzo28cBBOZX4IlWSHLHpV3JJdvWtjcZuBogbbzWqZLTdMcx7ddQwwHYyF6yG2IP7qWhILeoB5po9lJWKW4PA5KqDPEggQojq/V8a3NHuJ2j0rosk9u1yxuJBtHST/Xt24eiz9/woNkSlYUGlVMTU+j12/eMjE0sp77pMCuOzwdHNk507Yi9iwOxVEpYKYK1ImfxVIhDFXQfnv2Xee4AZXLKG8xMTvFDAOoOiEMb3oU6Y8rw9Q6HUkjeWAunPEDmUE9KyjKHY5pWZod9lgXCairmWbf+J4/FG2RtL9gAUSL2WgupobjrgG+wrIN244JvlfEd1dsqchUq2g35+tlPGEg2CkBErCEe8xH8+HxNb2IyVUmB66d/aWR3RFdC1w1Vc+Yfg+BCtj5q6KPa7yfVTBMJtxLEh2kMBuHqecEgnD+zy+sYZYbs6Kw0hc8ygW9sHNTRYvKnLe6pPcQ1MzAYF2/obvBc7L+cAqX+8DsiULGuiCo2MA8bSKoMmNCJtiAYTmNzPmdfoKkoJSAdhkV4Z7wivc/OehoBNYG161bU8WwkY92Sn7Zn3jz1kXZ65Z8k/b2LBEEvbJfG6t96GrV3t+UEvJtICzOO0j0v2X7rvSVyE0z4XjDRDs5CT5HYHrN8ZtJZgII37QOf8o5IcdAdluxGD3NcRd3bow2OxadGNSS02VKp7M4Snm5zAfKSB5cBASAV3KeWZodk++HmvmPMQKfeC57Wq34LNC67+CzWDLI2RakMSK5jKu9R82+qrjgqfx7CTMZiYR4Lcg37q+jlo5F3FW4+8Kb56L1vGl3dLOgqsORItYfJaefODHwmSJT5QMhFlrh6xroP6kEN1AjJ4KQA58sDnYf8TIYt1cgyGiOVeC2RDHI44jsgLti8lpO6aXy/y3A/IOzLbgpudBmCYGOtYAytcW7fO3wVof/eVm+fs9dJZCdullkg1dl9sMMWusxf1+3Y5Re70YhItx7NBp+xkaeYp8o/ETw4q0fzA9wGIUUBME36aEpDwpamy8u8QoyWrr/nPYYf56JlIYEqKgGKRgC/JSnlkmf4HMVdE7Vulq3r3wvcdSzAck50l6TEs8CUJCUbdhqocYkrbRT17Z3UUtUji4JCQQK08zQuD6p3/QrrvS9ZMPAnvmsDcEnZEkjZ8YqEHApcbCKIg32A0ZcYQYGl8uqW/M3aemEIE6QGSd+CWBJn0sOW5KSzANfwOIQEL6hNKklJAFYpuuRYYiHCrzkh5ufCFrVWxP4eL1B53NOERZlLaP0S5JQezcSL4h6doyopSJh5WOswQuki3BiaDtO42XwcZ9iim/I1QPnPoe8ds0nKfLq/9KMEJmr/fzVoLlt/nfRs1Gx2SZqxl/hUhs5yEpz1+Z1hMYpjUq1YYzRWY3WrPvPXH6rlvzrVtPb1vYpEyKzTg0WncDDpnchjGXR7hwvCM0lzMLXbutKSXwfgz7GxsM+2zGJqXbRnW2GLi1WzlRDOOidBGTLDXHoCb7gz1aI9bvHJhJ0HKFRjRSC9rErkGq8+cilrj2iPI1ZsmACM550kWIKfOooqo1aBG5ISUmx0gFQVI5GVHxWQF2tnE3FhtOpmmDAvgGq19SAs6ZJdD+WuxrJQWZcMlZtq1L8q2wdkwPrlUt5iznAqDTE7u06JNKyYxEt4uAxs5By4Kj/gP3zr0PgIdeNIBGaePF+d38m+VG0qEBFDMWXSSQiYdE0T1mwBp41ZDb5sESwgJm30/bShwYGfJYKeRnmNIIXfANB1pNFTp05xwbsfTDJPidmpq97lPWc4k1jbyJiWZCvXYOZR9tW3XfP+SSjrrh6Qd2cX4b4t/wVd1YJ10ZnpFjta0CPT2PGFjcms5QbSJ5hWtmEi+8rgrJj6RIlY2cV6rJ1F7QuUHAD3qSt4h55v33bIxlx6H0xJYo1zv3vBGMvaeYC2YQ6wM2WMrBmOKIgPQCTccSLOXeuVX0ByuD77Zfz8dwe/QZaMNuI2U5qwLuSz37xyFZuEI4MBChZqvI7RsVZeJKuYUiRTepJFdkCZSph24LFYPoxnAUnjg137As/x/S3bKWoQDco5R3FjfRr5ORB+FKl88JBGd1S8M0/UJlPyt/lFFveMgcOat2qZskxcbO1P5T6pH8piL8SDsLRaYQ3PqYDQLXsVpmBQdPtCCgooP84xhjdD1yrOS/63YNr1zc7ty/cKa0E6sCW2cruhK1K/hpPp8D3dB615SAlo6LHewiliQAKlJuNiSIeNA6hHFd/RYPNZrErur7t/5Xgnld02dXCS81OiRf+5JzIqD9AITKAbmJtNZBclSt0yZx/iMJMFpuQiF8538Tf30ZsE2tBzFNvy25UIBSRzwPbo7kQ1Szj33OPtNxn97Z9gK580uIvahstVHn7C3y1PB6jgHynDT0WwAfeIJUYzkvunvkHbQgf9NeAIVdF6RcOQ+xd/0YDLkEGqVwcZjYN8LH34SOtBjzb0oQveKVL45Sxgc+fho86kRdXMw8X2w+Y2VJqRaeSBtIsdBST8Zl/fmRW8bKXu4JzzRmMu0J8gSGkGUiwDi/ozMdbI86+FDahmH4hw0vKDZSoA/ryZHRcfc0rROa1wsW/8bC8qS0hf3deb//c3D+wGdirQ00V3YWM3c9u1ig+wGtGnwo7g2WrJBcJdxV8aG5en6i3BmrVgyzzCepPc3vd7qzXTngFIk6RrzwXzTCu4o34lETtgRJ8f3VpP6UybZ6R1+Lax1K2Kb+reP2E/nNnq0wuRyEFpdDVz+mNMu0kaz9CXw2k8UOUYOYDd+ClEFQbu2+PfsW9c5iY3eBVxURTzz61hNmxim7TggPq3BYXOCjeKKBlxwS87wPQ4ZstyW7d9cgwt0V5acgTTUwW07s0joxnMVSbklNJLCviBkgG8za+/24X83oSYlW1VjuBO8NS3qXhWeLbZme40QjlhkdjJ/f3NHm2NneAiZbUT67M7EaFLXw5K3Q4AcsM1P4/gQSWt9V5Ujncjl2uEw8WeNvfH8R+aE9x7ugfmHT2rXICgguFLs1SnIDneFbDbyYEhSSzwf9D1/D/d6QR0lfPZ2iLWP0/xj83/UCK9zXVrJslfRXtc9CpX1o5PYfPWP8pGUw1l6U4OGIGCLNtPH9Oj8LgROEa2g7rb9dacYsIClR6dTEbQPfqfiIz03JEaMW1FG0aoGmKUWdSEgDtnZjLEF/bb0tx0WkflcTBUlChDXNIbEuU9OSYEvdtwTXyYc1eyyO8UyVz1hoFw96mRR1oaJiIssRv+H+R773HEtbDRzuaaeY0hjJhjlKCwfNMJg/YUCAl9nP0WMv5xW+613dHI9M6/wvqC5nrOQFuWQ0G5A7OgDqXeZsVyvta/B/xuBqjrnmetwb0RIlJH29IyiqQAs8qz7tyYFI3ZR5H2qb1VgplpisbruOIEP256TRJu4nacq975VAQjQn1x9VEkS02jcbBqgfdDiny9zV1YUDRbuJdM0G/Chu19QjlZQgwC2sjuPxtS4X4gB2MJgGj9/mTO5i7byi1I06gL2qxuK7euL+DQWpa/R+hmR2yg1B8WAnDNaqekofI0NASt58oZuGprevbO0cQggR99UyBh48EFxXa1OwdQRRTTDC1n0LXeEf7rmvaz3vZIhPx9TvoOV+etz0it1rkV9lpAKK47vbMg8DaSrBda0EiN1xwqm2FnnMFaBpUE0jBzUrEzE+Z2Qg/pDkczrDAliaixn8fQCGmxeQ/U1OxTot7A6MugUfMEBRYMdqHRmp9zU/3ZpZudUxPd0iBkqco7kv0eS6bRm9QN1juAmrBgQkJuf/UP45G5D5OsdLrx6p/Hn8Lt3b/DcsBUWIP4myex+Tt1FgHLN6iLXbhQcJl/6UmfpdoMv8E1D+tftd905u0pH4gSDw9HM5aLApHrALFhhSz2UGfztl5Ko9Mzhh+d07gEURjTA2tFJvLe0xjCeit3YDPTLRnnl7qt6QdyBxHQ3/c3TDlvaIkYIP8wUy/b2wkDy/i1fw6vQFzBFBsDPT+E1fugsL2LNGeHiNZ4FxBFafKLXFL+71MWROjMLYhV4g+K1oZsU14NjG7EMaf9Z9UrXmp5iowybbbCqHXYFM/AzmkcilqJ5TVG7e34rM3LH827+EWrmodCj702C7IiRVjua+mZM1rKUOuz0Kaf9O4EQj5rZ7OelhWTcZMZx59RyujnstNjIICxbHi6NNwcYe2dphhGm5WFPc3j8OL6OXY4zj5A5OAtoDcHfxQpCEo4PGteXsMum6ldUnGe/iM1jmwAu9j1bMWkfoowoRJzm1tB7vSVTx+2Emt1QmeXdsPGjTXHwU0c0oRfpKY/oatzRMIzNlcqpCTCjJueOtJsCTawCgpVyJBQ8E5nAZUhh6LNSrDeaRxKLmJwJrDpnUa3Dlh1UCH686+F+bxKS+AhKLuLcZo6pi6MTjqnmO7m5SBrmfub5WdlyGnvPhH7wGpOJQq7VriHEfK01iAXDEyTZNOG45RE1448JLX3hQnF2vhtq5BKX9jOn8t48HCIXUXGJJMPC3upwyEUEU/JFIFjRJuaH7zmhDQMriYXdd84GcKFkBn56xofQkFrKJ+Ew2Wy+5jAkJSEQcACeAYHnfsmn5gTLQHyovmk1a3eDJa13GwtdXXNBwbHb1XbyPHQ0fMq6MrFD8YUbYiBeJQWobV8C32nRHmon2jUyshMsPQ524lwtj4ONLgBjN9tlufJNcMfh0zQAazb6KWgPkl78IWIOcZVVe4M9DIE2KNVr71KeMVE9lfUJjEusksrdPIDjMbmzi6ybkekevBOQRai+ocgJ8ZV6KH6XNwb2eRsoKg/PNNSDKLzom94A86hAdotbC7SSRJ9G58zkKwrcbvBR5liXPZevEOiqDPhzjUKKJOvGwSyFzwS+B2d+liJQJva0Wr6regyYtMjqkuWvwYUmEqfFPlmC7AdaM1H3/LvOSWG1501KEtltKadUJFg7jn72A1yZDOrjrM2H8Xms71ZQV3h73KYQoyhO3462shjB9qpw6xXrSrXqVg24IAuAus9b5L44pQWOwv0+vMLB8h9/SLO2COYJqNCs5EzeE3JmJj9Q/z3zemUPIYifI2pvSgKZg7Of5zXqEvQAa/yXmLeGndXqB8yjyeF1AH9y4SBQm+p540iTNPoeRd7oWMZTFrpL8Om7Ww5h6t0/QtpLxhhapyaN/h+RZzuOnpWJhDzMEgaD7Mp5O6PnVx4Wtk59YGFpwx8ZVE2lcvGx8gYwDlQGL87AZvGePVcl+Qq2ea8MckwHlAJeio+7cCGDbJTCAQ5Rxqihe9rFSJqDp2irDDUz5u7w1N2982rY/Nc70bh7Ek7xedLobSEleudloweca27RwKaZRAdT/I+UagWXTfJk3ywRSOTpDwsZI2WUPocghY6DmSibxo+NHspjKv2dEwA2UPWEJtq9hT6kUefm/4hZqwiwXZmdF3waAF4Dt5bOeDOfgI9cfHZg5TYq79g2PX1m+XZZ1F6R5rRbWAPbHRTWxHMxSDly1xhxlvyfAjPY42m+hKQ9TVg5pT4aQkfIgzgui3cCdgKJrlDCNAH83zUfr3gdr73DWv8RD/CcC8qX0jdINopR6UT9o/soQ9bInjoIedkUFAUs+nr9tx45nv9P1F9at5hukjVBylV9qtvegZYxIi2TKUDxjSD05cwXahIJXfgBCqJQpA3DsFrB9Kw6CoZQBrrqJzZr48b3K0V5bS9GVi5yJWJidjatl7ZUx/ruhMqqaPONOTTrEnrtGoPH8HLhk8Fb3apzs0EWYTQcQ3z9Ps5a+V9gkqYGTBGcXoMzMZJtQ8k1ebcS5DclPluyshA/bd4MIyNdvNwmnIrfSS4FvIMuspHn4rMfBB+fGqZMoA43cTK0Z+/ihbTiBi+XTA6vB9XbDShm5O8yLh3jceHkMownW+tSmtG4m4PyIy6Vo63G9LiYIi/Uwz/f1h2SWk53h5HFGSNnsB9+/ljy8si7T1hsU58MczsCpxPv4Bmt3/dBoHo6MJ52W5zZdXzzPWDLcNNmPc1HgI1QoXsmKd2Qulx9WJEdqFIpizgUKUHk7gnj9RePby8Xbf7rM/8YXH1Nx+VoO/qWZUsR+EsRZJO6jZk9TfjWJTYOa5DLcsAH5O91y8oMKyChQFYaug9nZKQnATZVHfCnSSwof//JOeWoCly84FyvWrnk61gVJSqPwsznMjjfwt1OfMKmfGFKK98h8F3UgWC5lc52CtQA0QZwX2IRN/iRTmK3SOwtjE9b6SkkDqXqWDqpLZ3zNulgBfZWD99ckihLNPkU7OE7TjnXfGrxBtxV5xU3RqoKeB1UYVtgtLvQfy8lXNCGGRg/uIpYPShTOJyL990mRxMEzefUMO2ysceo/ZLREQx+0F1YiUF//Z1cCfbPs3pMFpA0a29AHSKSIYYQwW+6ViNpFEp144szFGrN/lRE141+kQlstFZtsz0h1yKm55AGoSsN73m0I8nFhoQXXqzfcYq0hPzvjQ2yP6HBiOGcl7UGdvFmaSsMe15bMsVFdeVBln6O1z4gIMxWC6k72gbetLL7kORWSvzhauGF7yWUTSSTpJLsfPQ1noTTYfLWO8id3X7cwNqbi0pFYaEa/aEA6+gVDQtR+Xqkmg5sa1RLPi5i1xH93YOg11rzUPp9S8QBmfvGc62LLd00ylqggrzoD9lWV/av0Ss2ubRY41xULqv/BCP2tEGfyVJibtKL4kW5PZYo5I5dBXcVjomiCNraSB1hjvvunbKytvI50B1P4NUE0vBEoiar67WQ5SMZ040AwljygmXaP5Msu1ODi5dBprecetdtqGXp+aVWTV7qtfusuGChsURlOfpgllLJc3dIM2kIKkqm7eOuBeb8BNwqFWo8i1wKhnQM2IxyPZk2HjAG5Bs3eIZS5JbQd3yRyLTJAsJ4ZbX3eruQis2vkeuF623o2gcb+w/mlISlIfuGS+YGWuTdOc6xLaC3CGqSoiHhJXvwZghSe2XVHijbJMny4kwe8B7qXO6nJmlM6ZsLpo410mEnVHEzvd/722ewl7tYT6i3u7L/7FVhCOD5Rv6Vfi3VSWvCvHtZfqhBEQQv8DgWgRp5T61BarT0mwX/lPhSWVupb28WdUxtr+LULwz1v+B3Px4PElILl9w17m7lFiaTAnEFteoQBUrOSeVOFgvadnXko2Wv3NLBtlOjkGZbVFiqGGs+ru+Thypu2kiQAnHB/73wYDboYHuzGoXQPdUguZsxa+XqZyZpGwu7OZCN0VkeM5DbULg5YxVutbHVnGpOnQaf7Wy1V0Yr8u+ZebJiSL/vTR13ybY8LzwcK0eKynP29nY6B1md6NNmZXeoOB+37agxj9NGJKgZ4cmihj+vRD8ckL6ZGlkKB5vt7/YRMbhpZJTVE3tfIATUqbpCYW+O4/5zJY1UQ+46mcsSMEXEdRrlt87qrrWkGyAZ+XNU1TbJSsFrrXTLmDfR/19lmpm7PJqzvtKKe1CQfpBXYw6VlHh38FJGC6pnVUT3/rm6fepGSwv8PAnZwyavXc53zGY3hjm+yPlrRpxBUhmPNoCQnPfhbsqFMT6Xo0GQpC/6lDaFhQKkbempdXBSrsN7SwsD95qOOxrDffkn/2ZhMnAAvuFBicWblrBzewcqPfUvvTa8fij5nBR/cpR64uMr9meOAdMcsydzw+0seoySjeV7z1KNay8rdhQV2iWSZSKoA2wmP8vYzSGdEMD25e/F0nD7FhkD4FEWlH6xn7rCwESuVx6UYmjbRKWav/wN5KHmCvge/ZyS5Sd7Bca+Bva0NDUbYGDSvCDrLkspGqs90c1Puk6WUglvZdJbY1lbj23qfd4KRLIFIPbdxbPUdWCtWlU0cAPlYjfEP+/xbwV1EUlWfAcCyGE37iUnntIa94SYDzpNCah+ng6XbtrRidk0oyyn+zRNUkysDch7jSMgVyuciPWqfShIDYsUZFmsuZLAjh4BckPJmuDe7JiFH8TOEQ7i3s7iA8Yj1m5Jjp/s3Fa+z+UMJ2F+usX0umP0TVX/lC9zll6tbaJzRoghawSCovYoqQhUrIcCpq4X593Tol/yvgbVH7CcrpOzJqA6b3OeOfmUcD1Dmjsb99TlbsTtIPXbOQ3054dsEMCLmP8xLhisNdtrMz17FYBC65G2FL8ZhqRap7i7E7dbsudl+3wcwltKAdW++eJTagNcR5XZfSd/MxF97KvBZyQxnBwB/cgLUAYovowuxy4AtEiv13K0QHJBhsdgHgYARNryvMopV0iti0zu/E4GacQESZ5RB3qi3KOjXQV2GmQ1HdvXyj1fh57+n4sZlFrOr2c7B4rZj0jPlUcaR6QbFQaY3ppgGwL9KIO61MbiO7qCanuOAyshSk0y+dvGMQ4rtpbTYxV0mPuv0i+jsnAUWuxK8tlTlFvO2KEkbpiAlmTAApP1t8XSEaWgIkxz0EU8d9bmZhA+ZWAN4UjoKzE9NgOfL9JbvYFz6r4+0rf5iO2XqeX+S0manaJ6gWahqLZRZ4+Pnxxex1Op0g9LVf6FTdbiwRyPQR8zZrt+zkKGpdrnAGXiN1HBzPVTugO66JbRzpv1QkBVXe+b7MXv5oK2xZCyotG66e7wtF2TcQnbJl3t553cYxisfuIjOZfQJWJtGM95rj7lFtZ1H+IWPJiSFUPMI5r9K/DANhqWj5kpN9Cb/5s6/1G1v8whXUjLFDJS+mJAIVUn/jlSsISbyjXqP5vugh37/S5n0bMwBBH8N0fo2ldbXiY9cpkoAsih2lkojMJ5+oGMBh566Xsv47zjl8KfF1B0hfJpnqWZuejUPYVWxO+1lY3bY6x7zSQ4f2FFNTP/CQSnbVyEJJjSqiqeIeLJAojXxK//z0pu42r7V1WZpJDc05v4UiacaC82CJj0Y+O2F69FlLnjWEYF4vuan5PAl7Mpx32w9XwSLj7aBTOhlbQqYuNWWlQgXd3tyNbyyu0yexXnDWDsg091DP3CQasYhZQKi7qap1N9Z5NKgSNHSqW0irSjcDpU6zQlSAaiISA7WB7VZj7TgoMOYdga8vbZZ5yJT3BAWaUBiNK7UICxm6AswEZpFTGmOisNZ1HqZkFb5emFSFKKDaUPQ6worPnuhXOo69nXagfChaZo/FvLfQCOScud4l7HR+xa+7hgcOENeDDeRZ4Ah81fmTT7JD7iauY1uBdH80feGRaGwzmyqconiZqWVJIANg89MorMflPMvlneUmsrE4kR7MCO6Iay2Ur8RUn1JbP1cco5YgAPWg5XG0paWPiyoXmh2W5zCQAtyaQrSibMALGBe8kd+YrvHjP9tcMm1TzVBABb5EyCrg9sZfRz9hx9xVeTKhTagat3E+DIxcLpBEyf18p3uQU3uoW1X8sIkMbp7StXrXWkw6I8JL24r2d2k+4zVWYXtOuF7NY/zxhkEXFFrGA3417Ylr0AEtMa/0ka36mjy2ZxNfr2bzQrsBvbgmdrPPNIHjqMHUn9fQhQtUDv3Q/lmLnDcRPDUMz6TS+Yd9BDAP2yI22P0XPfmZJO4Zx1JVZKeUo8cGQ1hSoWJRJleRUC5Sidco0TLoGSDGpGE+ymTiOLo/Ic9ucByiDgVt5n+I9I2+MNPIMjMyt7Gzq94lA4ZhV/UK+GYaxAn6fHOq9ssnEKaHmyje2moYIE8QEBphpVz18RtohKx1gVaxVMHeljwGMTiN7cO5zq1fzi1MlLzAtp+jtFTOYL9n9neEWGLnYvwbV0MPMZMdSVPjFxQZyXQXaOKv3dNTjVGNFJcOGJhuqt/KTYclIwg9GmecubfEcpN8c/3imUhuSUAsDoizc2+KNEZHa9vWfVrZBVTwDPIxjwA3MXWi15sxFJxsDr/pH7a0KQECFai4cskzk2p92kz3/h+qlVMkQxmWDHMAZk9/nuT11O6ENwEjxPX/GVbl+WE7NhJPFdHRrw9UpHIXKmU+LnnSGbXYeYyvvcMZd9m5k5yNbNLPq497pmWH8eEftUdZsybILyGZUA8UQO60lvgnb8b2pFHrg9maUReBepyRe5RwZYbz3sL+IAa2Y0FVFqWlAAu4b7SthaAEuYCHlTpNV22s3MxEJhtYMVSgCnfe1kOQuTrD25TPvJ6yUT0g1mluZGfI4psClGrgYQYXMC4jVtfQf1VGF3RHdD4tNmJhdsr9x0ILE5ZXDtGD5xkTgfzwPhp7X+YtAgk91am5Uh6AyHT8W/O5sFQE3/AblJfLbUWl/8LcIPY59+nTkeXBQ0y067Q0LKSA0roaQhqjPYm7kBtZiavGGpAYt4iY4zvzOc6uysgLt+uwpFmnZJQElOU5vsBOC/Uiub+j1T4EXTpc5R4voMX1WnVIwpgrD972hu0JYlPv9YfmBuWklrq4W29YbcRD2zq+B8Q3EreSJuJxBKLBxlpmi3OTA9+9FDW5DZ6EOKySWX+878rTvvTeHuzg3wc+sVgKjTCyHyu2bBnBZMLZL0rRDky5T34KBZo//dHDFfRHkpzzROb4OB1tvqMKhi7QHo75GqGMakICpJbTwQ4Mb5wMH4YAv7Lo12joWbmJNEKLC0sDw366mBO40LxOaZyg6KQNgxobEFOzDy/Hh1Ju7ZvvxCRueoOGtA3ro1jcuNtmxkgdOxR038bjv22OWNXPK0DuZCs2ZUQea/IZzNSkEtHuPxr3e9FoRmerTpbkS1yWR88tQGxZHVzRAx2KRxnTR/v7kgmCxmzh1jGEeGgD5w7ZiDLzkF/dvwYN6N8X5OpSEb5cT51CwtoduwMD7/ip20WB/4FNBevl0oo4eVj6SpXJkDjmm5a8Ro0UESmZatMyVSigGtaQh6V7RYTgLvIwiICEfetfjSKWoh9m+MQ0cG5JPMAA/Mj5nMxoe2+vE/pvyzYWO1PearNjx2JMsvT6+Ap0EdiwtFaXKKn/aM4eCY+Z2p6FBxtYKu51zfmik90+F6acm6yqhA9oaD9rEt+TPqqabZC0XLFulVVDijSLE/iwpgCC3uHgAKKs4DdL3M/FJfSDScU+R0G2QqycOaYHQATIoi5ncgfHFMP5JJaPx3loTWYhaaGxLmj0W6sPUM0E1dRbRcvnLe5pTPm/jOYInvnDBEKLuNe5wxBhw2+/Lm1fVJjlrboxIFOFCZ3G41HlYaaKLUIEJawmCwT3w7Q57bPfoF0eoREqZPXBHqW3KKjUm3hRlJ3dd5aVVFdFnFE3KgdE3mvBH141GCjLQyAvp81pCALFdG5BVRFCn6DJHnB39a9kvlP2CVIs7LmU4od8/w6yPupIHfDoKZ8y1+kFoYUiU8C6sHPrIooJxYKDineY42ozWHT0JEeFTGiEDK10k79lXKEP9/QBp6qjg2EfvCVXAW+FQkQeMdLlqOrOPZPTBmOj9cFwPIkgLwj968fhWfIFOvt04Ok4Z6iEmjaWEPaMoRk7UhQdTfj8rfVSZPiRkOR7ZVAp30C8gWqm1IOAnYtcFh1FCzqcbyJLmTcgS0mQjVpQaMeNI+viHKKc3lPpnud8MmRVtgy2Y/YRytY/dvII2xi6SRXv++PpIgIhQV4beoOYx1lj+yaZ6cIn5ueMNPB685aO/jlg5vtI9ie5xH2ilvmvLdJhbAV8Y2k/SHHKn8m1jsDRvLQimPblyLMyalDz7Gfig2wCFJuhPJrGNDOT+h6S8R9X1hw4xcvbAG9iIFX3+MduPnG6O4oYg6i310qOviE5QksPV3MRjluW7m9qs/LXhkCWvmfYP5fQYtUMESTd54jpWLghkrkuzJgi/blDTeoyH01m11uxiSuwuNcm6+aao8q9/lsW6i1of18JuoBifbpbCGoyTEZdoZbSAvvS8dErgW+IvXYRZrt/UxAevKFrK5Uf0WSUeYD2aZ9Ppr7M/NRjrt6cmBKqfRtdwzGEzox47zmUfXWQ+GbXmXhbIcCHHbx84EOSgHdp7GtlPPt6Em5HsmxqReogrGw6xsxBAlfl+OtrD2AfXus7+0CpV1K+xFPv3lRVze9L+fJK+hkrPUwi8DnG/nPZ1l41RLJpOszRm6KBM1IOz692nTdC0vbnA7zFcMnuzcT3jeF2ctF9LvSURaO0iZ395uEPxtIrIZrrse3pUcK8dsGBmfy7IubkZXkJN4phKRdonbYE5L4KFJ9DD/+1KS7ACe1LAH3NkD2MnxGOo/BbPVCtzigtK3LbCa+2Iu0dvYYYRKpbZSJ/btIAC3geR8VXbSgEZG6cpfWRJfP6mBqbAVAh6jVZQoYQ7C2PZUtPN9iTpYEHFRipKF5zr6uDwH4xBbXtoSL691bdbvSZZwnPHNwmlP/PVhbaOAwboCrQQrqg2V66VI5aj03t+oYOcBpBGq03+adqYlqgLEeM2sSXKPsnK0hAiBtZZwYrq+N3s0GD4WvE+2gafhNJ5ZiOHo3cnvbx90IWyg7fXsXgXgEww0pIxWL8i1SUtWWTnVHVAUZOFF3CP1uzMSfiaAWw2OhmeBohSmQFi/uv/bzcIkmOua9qgjdjkT9ttzGox2uVBNmagHMxCUhGHzpr/aiS03aQcy6CY3SYJVm8BStlwDeULPBue1Tz6L2v0DaLtlozlBhXqLq2KPuxexUKpOoDIYDvFKlYDQR45zB72M/xojRO3zh74tFHdA6Wji8y4gLZotjbqLRx6l6E0QTm9jAYiPC0/I1kw9JAhXrrpQQyEpwWUxXJ3e64xOtWCJVJHEAFfcztJBam67+1LDNopaZYVjtZ0JEc3SrtZTAlLBGRqcPmac4L/IYT13eLnpinUoMlg+n3ag1JlUUR8i/IX3a020FblglLbarnMOoVOsxaLj8CBMAJnNsDslQ+aAsPlO8id5fpUSeWATXd6xnB7QGENVwEto+LbOAvrsLLxEvPWzJjou2xOTahbeqaH3IredbJkTMA7KnF1U/A4gSu91f4c8nf44rya3cYiI9FMAIBqUPkVeE53N9H5OOqcJ4kpjYJ+U5mBe0xxz49Za8Ju8swuEelo7MUwDgYq3a/wl+r9p5FYHZWAIYePZ+VFT2B9kjm9j3DX04p/Yrvs1bkXyw28MQCDWIoo3Cfwkc/AGGdV5EfJv+6HAmrS3Ph6oFXvIvFI7yIUs4K76mxrtTvpAIy5rtdZtJnT+l5RJDlxKx9ks2QPp7Vix9F1HE/4zj6SDC9BGCu9AjjNpOMo3UUg2uYaDFLc/YluHPsUGcj00jSl+l4X8MLZfyzm3JyVuOGYHBEmQj2v53u9TBqoeffWU+1z+uI9atOQj1cPSI5apT3JyGT9A3JJhCAgC9zvfOVaU2GCqo+Y88UxgoJp7WojrZWjBTaUp4sVRwlSsVnHVJSJdE4EOH2vXQRUad7yn/NX60BicpKXacsMCg7LXPKiWfVgw0Y/LDEzSEa8G4mgv03RX1BCqTe52flDSk1VyJZhVRFOwljrWmRTfhUxpKo3lMx9+LmZcpEXDnHS03EOUZM3KYL5mSb26xgdnDGJ2/tWBjt5frrmlrFRZvAynddtx+qj4J53Cd3LI5tiFcTUDbHD5OhznxO7zZuvoJg7zUcXBJbJhL+3DSdwt+994cmq6eo434AVboO/ZQZukayz+4fPBidsEdZGdBtnU0EXNAlwDyFq/6rD3XPPHF4gg1ZgPKZ40LFOuxVKSnXD0qvC8RAGM830aogoX+BrWZr5R9o7Mtqca+gSOccE0qg6oeDMlX11ICRtXDNfj/a3V3KhcF/SHKt6VvkmuMsfHSo15IYjQJftzlbArH5WmR8+Q3QGen1FHFgjghswgzR9QFRcenYprJaYUqweEHGyHidz8dLlZ1jze5GlnlqClguQ92dHapTGJnT4S9BEJ2vqJYz7euv27DDoW7iPi9yJWm2+/w9/EtvK6RTr2av2NsKbJOCvaqdlGsvgYyf6L3H0MofJlB3oOEoKiuZMycW5J5lDsYuQnbVYZqSrsjPN+PF01AHtQ80M11vNw/OO2h1b3Ox5AmmG41EpLdQhDVFJC3hV9lDlHSZxsx3cOaw2NV52pB+Vz9KL83FXgqgVr9lN773PnhK0KL9Dc1jL4wgol7YuaGzpMORb6yvKLLEPzRkz2/9OzW/SX+HXxUdpaCH4uinfDGp8i4i8MsM5S++BeqNkSqoyp8qCM2d6Z1t3SGE434FbWcBw5uuzYVIicWrBcAhElaAU8FW7tymzGbNXg4g2T7bhX4q2Z7ChrRvpprgWuJDMDrSAFCso87iVU9ulEHOck17r3shN94qIaO6y40v9zFxP2a5VflwIUj+MVDndNauKI6kMtvt5tWcc37UZB/ZG9VaeQDdWTfLrw6G93hbV5MQyjOhyY5CaMWSmBmu0YtlmTSwF6yqEfusMWsJKaQ9BauOfmE0Tep2mqOG3oqViWF8KuyIZ7ORXDoDCGCwP+dMXE+2fAqeEWWpyYjXZPv+FjIMCcFiRKclWn5abYM5Vsy0oNS+rCpgPAUstCQ3CNp5+otT53ErM/M3JmEJL83JfRk8V3f77+8+/C0V5JIVACkhikAzf/nSu2rU3jMpRBJnLS1P49eC/0duTth4nX4Au1dpH0vrwFcG2TLReL09z2GPIZFd6N/K28IBaT7e2km82cTCmkhQwA80harxNhYFk87Obd+2cZ8JXMDsQibAR/8Q8urthdCjftuEa9HFPS7BVaZamgo3RhtydhVrJat/1IDXXS6joSKJD1pPyRZzZ0zUWSvBRu3PZWf2JblzKtZh5g1QM5X4gM6MQZ97hRrdYaUlkUNJCyWjyJZ5ZnLxKWcjmDYmVVaFAL6PfR4pY2uBw/UDTaR/hm7fzXp0jHuCwkLmhq75QqNH18Yo0iTqJxaQ5bkXlhRIapuJmzJ4mjL4D6o6B7jz6Ng1d2XN80UXfFp+BF4lwedhBZ9bhknAgwJeuaZRjkfgLoLmGYo4HHTHZiqODEzv4SKkonoTGWuKX0xuQI3iaxJjep4C8uxZ7GaV3R1N4SfqpKLj5DqdEdt/2AALeslKaji3+RFKOg2SZPMtR17qdOu3amNOFjYZzpkJNTyCScvMMIeyGucH/q50CAImzE184tx4EDccnvtxUkmsg13ayqTqbIWkMXE0rnrnwfjY7m2Wme0KtiX1VCZu/VbpbXWj5LnjlPjaPMzJlFkwQdN+LSMGRMrtNE6Y8zJsAeiqvkJ88VVkJ6rIJMl7ZneCSPQSGMQJ90q4OXmHaB4QrKRVGUWQvO867LisHtHJh6iuO1G2JmdUEOQM2S5+9uvCDQTxZKE5yctIzhzjtUJXIq4ncYLQ71VTtA5IV0eLKyUr8AKlnB4k2q9PhV7bTZ4C3hhVuoJ4IwkHhUwkaE/bALiH8kCDEePyFIJ2gBBfupG7Od1pdgxiH0PWuu9GAzOqHAAufqJNAfAIaNiWdBDnx23FH0J8ycE+Tn7+s0+affhjbJW4nAQvEQnoqn2YBm48TQL/8gR+k2WOJScUjYegfchQxb+L/5GfNwcyrqezReXg/SHRpzMe+jV5P6MusC1YMGGlAE+vDMH5JtnKJ3ziY1Oyb3E04ntoGQ2hsiFL/QL3DnQGUFvXxS6dRzU/9nDCG8Fkrl446Gk2hi6XG3UJnFVjorV0M9vIga3JdeW3seHKYDmIZJiuI3vxruQaiRRkx0pBC8x7oDFq9zxiqiyaW+SJ8+08gTylo7vC/R6l+jZIcKPM8yRZjTIjDG0Y2L5OsecY+4LoqvRyq6Z0kd2vKHLJx65u5vSC+wjt3SygXW5IzRHjBN4PXClEjQrDh7LTjDpj7/FEn+hq7gINX151p4RsNpR1vw3yExw85Pq06wk0rPX6bdSBXjZ/QtA3mFGYLi4QGlLDSogkQa0xtXypazgLaQzjrcRMK8UpdhgIClF+txrez0T/KlBbTMhvIS9Tx0AqjxE5/fa0FhfY99Sbnv2jUouZtljGo/xzMKye3/YmTEZ0H+sn9d23cpP0YbYDtyiR+Zaqyh8yXXac6AsLT8gReVDK1U1hq7DcU6GszzRNP9o/2UpcsFpdMu44jgpAwFMWcr18VBmzti2rME3MUtHhrR/CwSoTkr9uZY6u+di3ebF85vm3sW8GMh7ScDJdI5YZBJbBC3W14CGT1ZDZDvZhDK0FcttX6wXcObFjdGastFCFfa6sK8LjkMLS2fUmyeZ+ziriisyJys6cRJcSVoDkvQTe+fSvpzJascp2VhRLDj2d5JMb8rdNrr5bh8WPXMAPO0vGYDefiO2PjS3whdvZwKlNUzD8ISOCMStHuKnF0VisNTr1lM0MTcRZCJW6NUkB2XZZprKGZ6Abn/xNPFE1d79SyIVmvlwU5M4hRvOcIhXzGT2Lh96yVIMkj11Zl2vqJ8FGXiNidR/xsiWTrGiC5Ho7+4jTGT80ZQaeK2V85B4OHH4Xjl7nXlclBJ7I9eKoW5W5VWqjC0/xJfcEv8j2+xwUtm8kWPO7falsTJYKpq/trn/sovEYaToy52rTOOR6/T5mx28kJBYV1kK1EQL67i0zFtf9EclBUfr0Vd04pYs0yPB9wPBbQz1cDcRWaik6xYYUk7fyBY/FZdys0ikepLHxUv7aKDbSujYtUahN9smydxJHNhZ/u+HbIJmoHi8nOnYO8EGCyFmECEf0NaoEDGA/Sk1zZ7pomndFc61/LAuhOfMLxGsH2ofnznsh2PZ39Ei5TXJ56eSr90kmkVPdMILeD0m448M7ed+H6tcB69CVJuNgXPclwlFeE9eeOcVZ5eKZgnOqBWUqp8VeHqg10B5QSPLECnRanIe6Vy4C7nfsfGy0B4q6+WNhQOhAG6lJ6759mIPkVmZNcwnIXrqLtc6Q/DQKcyXRyxTCH8gZLDYpQSAjh7NA6VwtJZt8nRpxqJNAIvH4jfRw8raxgTwibhz0bxWAGbzxlFRHo7uCkVhEdh1LQ52KDZdqqJuqipjwx5x2zKpou2g4xrJZA6lFOo+f0EmmWU3f2Uv5s/L8VExv9Ib2f7itMn6qh5UH3QAmjExuN+CLpdknkGeLVY9rhWfH2fPl+BORlhlRgcO5CVPnj9Cts4xqFju2rJU/WS0Okl10Ll2Zvfpb3pLMHUe+GmWRSEg6qIJ6hDEIx92vRSgwtmJ5XjUHqgDUtoh/Q8yD+xGrDQf9zw1YGxh3+4z9obEft0EQz1/NO+ZBsLuxdzvLIKykUchY34ulmPtSVe8o0xU60j9mC3SW/5MSxhJ6Bgi/gJDLOwxWtnrglIkADr1NGEP36vnCxiwP1Mxb69niUqLhjPvQarZ1AGd1/gW+TQWtxxqByjhRRP/0A4bEpam+EzdUepjQQ5WwE0S54NUcOqLpc/Xumvjz/E/QQZGCuw0IE0kypy7e0+aYyMw0fms/6zQRnTZVO0uKUn/wRAnkgzB4r4JhvBVG1K5fi0hRx//wA1FLix0IpaY/UeMBZHnmapxcGjU4HFfS18cxmwiBKRzR+6DzOJMoZVrWvS4v1YsIzxGCrWYRuuy1rjsuLOZprTtPSUs3MRqGT5bT+Q2oljQ2M47ekH2AwOCmuFr1CVLBtzV5GXaCVL0BfK+Lr4B0Sb9F6FAd09N9dFuLxBL3Fb+yMACCnj9Wn0OJZFS5P/HOy3SKC8XUo1pTNJeFVSVh5IK2P3xW1dNsmME9h4iX5G18jW3THascjRz7F6pkMAQagEvhEW2+OV+WxJ5SR3SvpnYI45S8E6gSVMx6KlBW1+armObNKBJgcgP6WQpwXjASEImJJh2P61kSI/wKiR3Wz3Dy7pNX7cfmiiXu/s/KBt1+ZN93GLiWeYdO13Bt6/0HpBEt7YDphj50BaKpYwzBlx4MCUdqyMvqCVBcZsHosYpj6hzzndpKkOrKjW/yYoxBWTRg7G1lcN0dqH1b6kD6LnN+XvkuieYT61BrIu5o04yyDbssx8OkHakA3PkG81DfZs68YrZKgr+V0jaPhc0f6JZeqOPDvvTUTO6940H9pcIF4qlqTqgGxfECwk+HYQl5LslFJbYa20RTNqtspQDqYMSnOOcOKU4uY2qV9kWQHp5SEgvlJ7s2/H8G9ld2RkAt427KFrz42fvmG9gQTCK+Eq49LSXLP4jPEgK1rMuoXaResrLx35BiDcgq82O9m4vNGSdkRV1AWmJiFWDbRqSrdPrvNcTf2rCPKhyEb7xuYwEEWsINzVimVoXDWA4ggvG/HhX9T5zxvU9r0zxayxCPXDKqEUvxYQv4Fs7iZazp/fibGIMZdvnmkRTMO6Fha2bMP9bpGssEFAeDQ+lVkrzxZt5IlkdZdl6OmMN1NeF18kZpbycUh/m/Sai/0QcATE9ldpMHJvSarrv3A8usec48w5kQdodv0NAjoViQmBSt48NHda2ZqJEkqtar75a31B74VgP8EFQZkc0QEwninz9mO8vZvrsSkaMV3SS+QILihPTFG/TGqsDqS3whNp62b+gUlbaNmzoIPF5B9ZxgCUkgSv5RsgfESPP90mFvVhXpZSwZVhnuQ/lOIQ6OmjUt5fE9jxAdchZhc9uGUSfwjJHj9xupbzn2l1il06QnQeqol1Om3SxnyFklYWur0v8WrZUTs6qHIr62tM67GaskWZq9IU1QHgBrHxZzZhZDPAFtFlrBBfy3noD8QYpHSskZc02aBfuF4ZuGxAKn0bMphC6PlaTiiD7dIdnAhD4YMJdqiyyCjipvbc6iGatp6+fKXaKsBi3NGkB7hWDGzTNaDhQoyno2BNxMr1ixrsEUrTVEEOjXa5+k5vpVENIVz5oa8cfTaBgvh4nKJ1+TmngLKGPjqlnSjcmxsCt2y+vGKKovTJu322bykarpr3XtHDKlXVt8m7axuQWiR4U67mMAafv7qWsDMN7NGPuPvgLivBjhz3qUEG/C+drJg+zSK6sdiOvgoHGYVz7yR731Mt8JhAwvdKX/PhsiOzBMYuPoWS+qNRqHMgyAldQBPAB9IOm81ka6FooCI8xnkOcx9yw/POvv+Dct1bhbRRAcwh3BKHdNqHV8aB8XAa0viBjpxTdKqIkH/yv+Edd++oXJ8+Phf2QYGD34133kB17g5Jv0UuJFBXO8dv7i+kv1S3P0Cv0ZCF33qDqjV2lnoF8cnVTv0SlEichLAp2+Lwg8wlFV+P7HhAWAbn/AuCj+SSlq4QJy04FWWNBXSvsD/9zQvx5vKKzlzews9aUDPtZ7L4gl9lrkX0LiXlcIDW94OdhAyVIBptcJvX7vnU2qXVD96/7SeL9KBSEAfDu6dJz5hni8imQ6jfbC50dgB4KKJDUWVZkPb31/8ws8zjqdNJs+SjIn7OQd3NoX6W4ZU+WJ/3N2WGB1rrnNy2uMlqQBKXleq2A0rgMrTeeYP4MysMByM8frawY+wIBzu8CLfh8BSgCXPOT60Vv0ZigH0C/ZZgQyaEhBBpXLgoapN2sjTEpYrrAB8TMusHryFcItrPqEx8pbNHUVz04kiK71oxx5cNZKc8Rl5DgDLXgIGQX7sMyoZez7DGgObJjj2KzHF3P1YCK4r+s7CRP/AE5YIrAd+vskWKOZ0VXmoY6n8T26We6aejEvBS02DKucksr1FQbYxC+MZiQZtZ/OtxXHj9n15HoJxh1W1YwDwIm7m9kMvW0FNSpKyOOyOXZebukEWw6SKmwZehRx0v8VhkiZovpWW/6msa6wXTvA7/5Dn2ZLjpT/dZl/VYurCRDGzb6H+z2dPIgJhnW98aOAyYSAfTuSlbSW4IU/cYqdTk/EfHRFxE264pPDijSdvKh3j9WGxf5FFzXREcBKSf0p/83e5RpmVIh1miTtKTGNzKc8xyVv5QGmw0U3Oz9fW2SICI/if+uCUd5xi89pVcCp5EL7Elds0H/HbY2O4FcNn/JiYy80/WP9KzaYpimG0hZ27vPF6YOtMq0N5I9DOMKrrXZXlITOS8ZVWyj0XAIruOLb9JLvQSnHNzkytYzjj+YAmsC/udFO+F+kcS5cIBifr+fKEy3OhaCAnenSPQPc5AByDZtEOs2CzIlmfjnh5CPavsrT0zg8D7DOw3Fz1frx+IVuVSBN8ZyyvYLrW1kLExk1wGac0ZSjc7u1NEZr/50+aKQsZgyBqZNlH62Xx81RvIC3iLcLnm9oeHqX8Zs+8B9AkqXPum+kwV7l3qPzQjY/OqLAOA5K5zIQyg1V75Df5ByL8q3QtkySHaw9cIhP9R3Ie5drvFuXK5WCw3ZrIcTLohpzSAV4aR3xQRN0DRqxjsMukKLyKfV7h+ALutiYCc5bZv/yyJBqykHAiq9dckcXbSY9GzjiMIbUyYcfm6rpjwjt+pCFnyRclNAxFzSP6bmIfjisrzqx+qBFqIOE39R4P7tfsU+kHtR9dZ/qvXEr+yJbLxqJD0TyMahmI9Jz/q8MUmlZVcG4AinhUclUyTnXXBalRojQu3sqRHfVe/EuAwPNtqqv0olY+QpaWxqne6gIMrexWkJRknt/jFQOc1P9AVhajWGodCATbxutZVIOJ9AgSLKQifLcI8dyY/44meEoKMpNv4i7bymTsF1oaJQOgi2/bkJ4CyTieQYiTony16PoDiXyMPDJ3CZdM0kdrwbY4m6ISwD6xC42GrsBPSpKdWL3ZIdgO+muLdD7gQJvg1uEJhPSTeKYVPTgs94kC+oTm1brqLm111nSXDu/hp8WvjqxzaHVBOviOiefmwbL7tGaPxf9NutSUmckFMbHqH/08wizy88z0EXCynwJvMc20JNs2DtAOQyigLLBS/VAJH316DlSwdJEMWxALLWpGp9zURDn5cVitri1R3jIAIwEIXF5Tvwe7s4y0kGNgzaYTdAZ3e7a6P8OdHX4b7ZsS6/p4QPOeECy/g0fKnNTlvkcdk4Zz+VN/aQCOA+buk0msgj2viQtanyXQ2sCLDsrj7G3qKt3ixHvCF0iXPw1wUq31oLi0GOgfijxucBZHT11+28ELk3HNCga3m/AlA9LZ5E6GFjBE/0MdXdjazhCQrzLybQP3T+9JxW5cwQKMKGOOvr/zYePo2xwdJU9hB6n/uOYPnLF9KysCZcrh9ufil8Xa1PlqPorhEJbSf38TrTTuIwC1DP0Z8eYhdEK88v14xZo1yLiRGz5rqpZnDepJRjIuHmlUWkjto4SH4I+0fsOsIY6xllf2oJrsylYk2vjvcIXwRxWxbOCt7IvFh5zFGSZMVOzWeSJQhaSM577EPSaFdgQNMs3vWqMqb1pJxOQ/RoMaUZwZjw7xi7URgOnr9cjm+MUytMaVRKbMAVYjMf3QmICCzEIDIpWhch3ruRV8yi0LfvJ6VZZRkJP0AzPg7lpn6naq6pTf8P6L7ioLUt8u6nEwlx5Uq0Vq0V7Gsm8RZCm/l5VSKwZtSApomUIqdVYQMw8pld6v/2fnkHDa4Z2usS8wXNssOJxMbyy1M3MaAb6RSJXws/DmpIvKqndPdmTOV+DIjRP2o1iGfTZuSAAIWOrdi9QgB97hcAZXMQ3A7QQ9odP+iqFNVMWbispvjFFzoMT2516a0plF/cZKmoJV2zVGxJYg910Rks5EPsbmuHhNIUGolrQt+zp7nS37fyrpCcgTH3Ckl++LNCkkdto6oKiFLYcjznngOrGhsVQba8UuR7cQq9xjp+4CegOdSYwxWe4iaGjqzl2aB2i66Ch1BeqmcSGHouomhfAp6l9nCNaakBNIRP7+glA+QUkm4J3cw/zmBoFx3OaGKlbJFvbChoMPSPX9+JImv3qPYpi1+sz1Gu9RzpmbJoahozOCUQ+rVvTpcpbI7zJYDU1/SHGeoXX27Cnn2xRSdcTH2bcx8HcLm5uEgFpINRrbhPawjtmTSwEkUO+Sds7CdRY27u0crXPJUmXVzUCuhebGJ+Dk7laHSNZpK/GXO1HPfTtcfoYzGmkHq2P99ZQvB4Bcpsqp/TJRpimlzjofgCieDH8gSogxFKtsQXaQ9QRKyaTKlIH1Aj1yol9+aT7zQeNSLFp802edTJ98PmYx/vg+bGxlMdBQu8guGUf2JgLMUkVQz5Vvp99zeACvmPphbv25mLVBo94fQJ14qSRrLCI+9Q4pA263LVAluOgwwNcR52rRfnDQD6JzRPpJ84ztCeTeor/XoM+FgRVB8d3fTI7c2gFB2pIa+2muRYDdQeHcTFRvoTq7elJcSWWWUWwmECLg0oVoCBkm23ChVuJY9PpZZllvMgPcnI4gOPTH1Q+vQLjnRQJYTBGN/E9VhH1E707KAr7Owa+8WWEj6h0nZt1ih/0qvxgO8q635ANj9SFPqlJDZCVRJNb9pyA8nAQViKZZuB5WQt6WcZ0haObCHhnpe55IbgDKki7Uar7C5wUMjnogNnKfxZ5ZPVJMj7pB0fh6Eig8KZRmnzpdPxKsr5arUbvrHyf1aCIwviWn4XVj9gVycasxastdh7r4biJm6UXg36yAcoP2diOcoyw3js4ou1UjU/mKzL+1AsdUcDa9p0ll2GkTlh1eVOSqmB9FAt2iYelPQqhIJn77CezBkfqyodAVTwCKiTyzaHg/2Z7Yhpi1M8El4kvrmJ50GjzA0/9RIch/p6olbjeq8g6lgxd+MdlftRp5IZQNGIi9AaEnuWZ3YjWJxKz+nj82vicuffdHW7RkCMCr6g9FyOCEyWp2MkQr4faayF94LXqeCGfkGbKnmlC4vuBW9F8kKo4YnghOI+XqvMFSFxo45p0ZL0MlEUn+AZbgKq0Zq1gjdjz3zA9L2+PBPwlB0CsWeDOPe0jJrhtQTtOWPYpZvEfR0LpCcYjHIY4TxEECuPtpCTS9jI47vaMEQGuh+Et1vlFrQp8+bUODVLkeglE2dpeR+h6ZWjibvf9SsXqW5UHWZbyw9XDfms6IjbGt/p3n6zVu+pQ7dbn+6Dwpj9oW/OPv1YsJJH1f/g45qKFRMEkvmSU2xKcLmUmUVv52Dlq3Y/QJpZWcOvdjV2Pn9V0j8XmsXr2WPu1LBTMI3oPvxosw4GpwCgKUdyW6DbxADaxQo8N9JSQVPIARwLfUM1hSyBQwrWubTWLlzPltECuDc1T7IUCYruI5ctqC6F/1VdkaVFStdbFUXnu/7B8G/X1v46Jsr89l2XIljG24ybBeitWLWVWH8IDojHKXf680m8VUhN4L3KnhoV1LJ4cs/2oDG8gkp+jS1oG1oSEcxaF8qkAW/NANE4N/Dt8HFQfE67e+K7qlvWfZ32XsPWRja0gHUAZouxIQH/Ofi/L3HUthwUO+m5F4El/3hCHf9CkqGjnHrJKXFz5yNoZYjZ9oHgkEgRcZR4Ir0ItN0r/sVjI3rWvIPLr9TuJx+MoceXJyXcJrTXbKZT9euLTAQmzB6x9aQh5JKy6U9W134C3YcUvk98DiWx815rS02foyD9VBPgEAun8ewap1INAVCeyj9bt+bpc+KIPoY1lQ/KwtDZoeAcPxAJtBrExtzQ/YxTPefm/dwLM6DigiMhDic2xGeyto+IJmg4eZxTwmqv6ytxCjSkuWwWTlwukb85IysxRaWUDVR8tJZA86rPPN0NqZf8O1xjfm90uEZarjaWbdVxcGhI/vG2EIfw31WQxvww+VyWSzoxvVoU9Ed4H6MndAf8PkZnflzohiO7TJEYwJwfHhkuk8PxmDLOrWBh1MtynfRsKFdYLuQJ1SZQi1mNpaNfDqGp14QNoJWz2rpPla0wCJ8yuZiHhxyHJd7yI72B8eX72pp4yhn84/zilmFUusguCdnhrT9Qozng6NWSb7DwgFdLMlf0CCFC0KKZyVwj2hBUVAVJNAgPMMjxKOmNYb5m+EOvNYJrWMe49nJcMto7uEdNWg1CcNaAXCk5Pg+BjYrFjhwIJeXvctxydfjKcXCohJCVlLarDnJXFQzhFm1ShoZATGxhCpJ/Mgv7+ZLg4BwRVwp99wp2nMrzwbogeWK3Ws+vQcMCv4MrjOa2SBVBsxVLITcErsVVIJmonCITWN3FZKge8rqGdmIcKufA1ceQPjtWFNGTIVazvk4OlsOBmpV1izYXWkNwnV3YnVS6CusmJQ59oiPrIqtYcDGCOK/P6a2NxxSuOSlRJuVjKps8sA2jEe/hQPLeNPvkA2/0gLrl4CxIpyDnHjAP3NgM8WL59pVL6lKwiH4WTCtEO5Kt9rjrO0EwSB/VdWO5CqingNpNtDnynkps3y3tsuZ6OjUTnBf3cGKd086Vaw0hEgfG235UnWzHQKnQAdJsFLVfIEPt6uaeS7sVvKcpX4CHXxtHV7PCyG/q0mpQ9RCUaNZXcgys9a/BB1ZUF8NCU7PimcPDWn8tQOmImPFNLXfg4ertOiKlnicTu3PLkXwCQsGhgm0JIF+DgAVgKNl/ay+dH1b3uzZy7zwFHTz77AlGb+zeHCg5w0DAJJKAYDblWw87+lMGJcGNfXdy/lW2DGnBYKZFRij2flSnjNpz3yHA5NKYxiN+V0oiqQxaSsgZS7DiNZpQHCorZLpXXCJQvPPBjvvyY6QIzfuIs0yzkcBsqFPiAiXoshJSy41tOjyPRsslZcNIqq3UDAfGxssKkod1p6apwZd9KYA72CO5DwiGbFsFQlPmDgEsClkC+otyIh1ewP7BVCt2xqneyfFHv21KrKavGxAJOPaOzNCKM3Lcp8s5wsq/2JDbu+ykjVVFmDm3+u8HCgnjzEMX/ILXRK4BpnV2qlP9wyD2yjtCOpdjqdS40O9ZsGYPydmolN3VzmKvxCisKH/mSgP4tQhn5maLc53OPRTpugBXyQXWZcv4xu6SUzCaqOHbmLpC+5mWdqA4RXBoWuqTLUSXxps7x9KsdbVxDPIUEYZZNMlISKbSiZCHn2wTVVEOAs/PaAYZ0/ZtBq3qDzf105At3ybvam3YYIGOEnb9p88WF15ajtwYVDrfmYlXAZ1+6GQqn82rvzjR+n5nkoaiHApdwDWJUsALt5z2bkbHORW4ZruW67HZvSeuhTU90UAJSgEuDe/eV7ZqEhe4EuoG9pw6nf7y2EZOIu13bwMc0LtrFG51I9GANnxAFeRXJQ8EkzEtaiJODQYjhYa6qSPjcxIKusQ5+j4f9p8dUslM2edtlXpMVpi2Jkwqq/3Cwxi4b1U00c7WKF4y9cSk7s15xRfJ2hQUrhrezAI5XtXsDDbuWKQKYTQ5tImMaCIRgIq0mrsjE50olUM7D8Q1AsQcy4Sc/e4ZppvlqdwVSjQPqRtTqa1MiIzhnCFJH9Etc+s1i11GLFcG0o2ACg4LpsCRyl1CHj37GR3WxXbbUFGZaXUcQ9fsxqvtPoFhOT9ly/6H7nElIPWETG3jp8klyAyDGnJv/3SmBYxH4CU59p/HYE1d9aSO0yPhVdw6ilxZnkmOfkVyHpsgkiXlp6aShKD+ZZ9vbuprc6Jy/vR68LOOa6+09a7fDY27by18UMi8tQ5fhzK30Ol6PWy2tT8AcKlIfc5w+6sr74DyivmKPOYKnVN7b4xjm3CwpSEEvieSrWoIGS9MJVWOZsq2M8EviwFdPINOt5jPrEB54Jx9lyEvx0uKrTVRk4uS0Wp7NAZjFKt9Na+tufsypGDa82XJOHJSobRqQQuDhYUx2QupHY+GEDRiF8pGNhHe2sytQyCtiQ9eB2/EolWd8PChk8idpVhnEcMWG/Gtim/4Ik/mlz8LFJjzeqb6ixlJUR4IHKqYMYrZPaYl6fPV8Co9BN+uuf9aj2StoZZBVwat/5kq3t6fkZo0exYBni0mxqrO3NK6F7hl8njdFydr/hltAo7z226CD5Yh7wdh/TpLACfO1qeb9Hm26jXStKBRJupb4mTRxIsuIOrMholO7g2iGJu9sd31xx+/1yNTidBwtOhuzT5LMBMGQ7pRgDDCd4YH/fazqJjDhrytOF//LltnMpbuQuto006kdEUTx3MSWgSk+U3NmLBaVlf1f4xw6FfjaWd/v9h6wkLYtvZUbW0zAjyEzzLqbvQlNHdPFtIQk79Q9LkuxGelZ1XbqCfHROfXQYMYNI2/GFyDOCXInMOPsu6PWYnxmjZ+LeNbTwm5b98vaG/IXqHiOAwlangVsNABbhDhGTPjGNQ7YkuvgP0hSHEncDtUP/vyWVuz1nMNz8tjdvECabnwtiE/Y8BD5eRGohvHO7OORp1HvAmujOTXYU69182L8vJdXkhAoZCJVF7kYe4CnrPKXRr/SJGdGvaeLOz0dXVoJXg2rEcdN1vjKWbKKbgo+fe2LGbXGPhD5maQOfpzo9BNIygkBByxgD/axSJhAqYmb3G/8+5PRDaxeG5509/ig+wZiAhRciYjoo0mhmPt6cK7WmR6QDGrOo+r2f6o6591klXX9bfzT3H9gcz5UkzE603VZr815XzUj3/sDsKztNqPnHabG4IpQFur9MC7OnfD2GCirIFY6ZaxvygEYVOflNAkOfhc5d5Zi6A11L7TP20lnqHE8mJceNZc/FbCgdNNnA9+wXdsQzPdvpn0hwhw4k9RuO37WDh95lgqj/hbFljnonOBHJ/K8njcWGtKmp6eKDOZq1ipkVrAkKrLyUsIOXkVAP8pR5i/kN1KkhYNpcxoYfahIhLfUOhtlB5lc/UHlN5+aSKUapvmNRULkbi/3anHcKQeg7/G4GmOwczu+a15G8IQLEwluugYWY18+mLQiYZXAKqm1gLIpjZyMmCFbL2sKI8mV2ntFfdXkRbFwvj8KmvwOhW0aNQoMAJzEe9AeoLH9c8IODuaSGHYEHu8Gwkt1aym+rBQysxi5qUaipwqxiuP48qeM023Zx4tLmZf9u82rDPnKnupDNWjpoXYGnA/iZkAMDCzecpze4UdWxHRDda89xekRo/XtMqCuRCJq+t7I6NfCteihOvkisFotah8BswpFyMhdNQ0k2xlyaNBTSoVfVfEttHD5U6GdljXvUoShWRrU2yVHZikyR5smUIUeAaj/Ze9x0ECz3m9PVxWzToVAQU/tEaaI9MKFX1Oqo+5rlTGTTCJGu4bwQVaUkBdWAASHSjDgeC7RnNGb2PM9hjNy7AJHB8PIKIFOZ6/dFa/yNiaiL6Flhacnc2RYKMNn7l5WgOXbT8fHPtAaelCVreC/snHTwiRTZYSY3RaNSqf7kx8e5Py0N/PD/ZJ0HZnqKP9rBWIBw+LloLgOuALyEY/SWv1pOnFVcOStRR82Q9K3aEr1KFMQpiE07l9tm6Qx4WR2hti0jiU+UJr3gCVNE7y0i01YUig9k1U863385/3oWBxKO7UGyZOKpu1TSn0oVLW2K4cPRs5fzvGfAp7lYxkBrw/ycWfZbtsHQtri7Q/BijBBH47zANDtCwXTIc2U6ZKGXF7/GoB9GbAroWuMV1mbthkLqWzuL7h2A/5ZdDGYwFj8L/i2SDp6QNI2dbdbIInbUyUMsVdvWOscsbkXx1kKi3672n40cy/fwZxrEgPPn4agXpc4MSnoEomjWdHZ+OPeUGhNq1bfJSMsVlrAztjaErSf7lgJNe2td+H18QMoSKpcg/Y+j31isJRtl+re4+fkV5D8TFt3CeVj0aS2l3NdX/MGQhUwjsqpWHkbIOoKcJjbRMzeNnUpd6s3mqBBhW31nDCrTgA1ZVq3W6jlklCesIJNNnPJ6t1JWxM9Wn3DnDYzHNpqmhUoeDpXy+PitGJIVLjcoLpHtL3S9rceYelvY+A+nSkdZ8B+svI3AnYh6Ikk1JFpBLVwGMzTOuG40ZyLF+Hg4CIWE3p4JdOombMlO5XUaMxAbwM9sopYjX8ExHE6gpz92JRd83X5pEVoY9p72ikIn3Z+z9PjU5h7vx6g9o97kikidBWPLFfTlnwFeBL0SBhIppc/TmDx12b/xlqf6eYzAQg8r4CEn58NdRONd/3gSiVl30MQBxIvIexAwk5kcTdHlchBNcpxLiD51O3Mhjsn/BPzwfA0tbQPF8WTR3kNLXn9yVVAPiHgO7u9tvl13AfEe4RHd5+Wb/OaVA+CYMQ1DQ7ig9RfMVVcFAhvhev76p9YLLLPKAxGPvoEkuSeB97RIHWEHKVGx6DrEKBwlESs/1otTZ30mO8/twHdtrOzzPjiyqoaelaxyS8VgoGfNLh6Av2P04K1++NwyJUslIEzSWAFndRfCF0ybNGV8fjGTT+WG9TOc97AdnduwzPvvGiXmzN6YLTfWSyLGrEbbRSzFSXRpVCwmFpY5xjn3YuoptUyyDUn3Jk1ByQKo2+zwGI1QVk8/XAbExkNAigmutIEqy5MK4oRgtwkLDTAXv+8SwzpFQYA60EshaHqZVIQt2aOHZYREVe+beY9K+9Wda5fjpXmN8mdaInRdK+wvTsOOZy2wT6z4rhgfIXxVUOfzwKK7Qca2U4MOq4wj2KNLLc5wz8B/ptrUCSNzjDH+7UZnHR9lZQxUmpy5fifeqcS5nNPgO9HEFth9o0m5D1rWJTdtCl2kgACkkcmEoHh8FCFsNDW92F6LvcA2cO6VkgO8wmM1EGLWnqQca+SNekbhNpBL51xUEbYYdh1VkrvOa1EF2YW9gzes+HjSYhKgf2li69KZUXt62O2JtqENBEo1rLR62ZOSUJgn37xJ/IVeQ4PoEzdrtc4d+aR85jK0hp9fnyM26dspu3IAGe1fBuiF4csdDqV/kUClaGT835QmR+oDQCdV8asBD0Cm/Xlp27xbOsC6zSvPbpxUK8iVRNzHhMbQfvgg+UXh05QT+tI50s3I3/QZ08eSNN0MrxB/Bn5FV5MIZy4jfrlFOxV9tkhWqNfcjaU0PK2G06vAQGlksk3s1GWnnVO6jqTK0ZGZGmk1i4ZRmjOkpmLX6uXj+1gHbAC2iz3mQTqfIvJDgWkgvmcX//pVZujZ31//QTvvowy9yIFq4qLC4uaVXqg1IC/zDjnnRcyG2tZnbi6UPZ2/9sfIYS3ecWinh6iVCY24NdplPOxLuR5sX3jeL9uGThnoN5wY+47Smqt6ypWR3RK5wO08WXLsW8QnHgFQqlpSmpWL2UCbjTt8VTBxaTIxUHfQ1zzQhxr3apEz/wIAAfI0Y6Y79uyO7wHtjHPVNp0bqXXndIo5uplrUQZi3RONMhV2Vx3eNUf13UDgTMrQ0lU/FgVRPOYRfLLDuWMxe0D7kgm+MDbMZXifTGD6ANjLOKbzUWRrjuIo1Xi11IFWjVAZO2b8DQwyr5WlT+vQ7xOp7wAsTjcMy4MfSCDsiX4MCQvyFx9HACYP56ik5UbZ8mg4vs30DyhnheIHgVclC+p10ykM5DbdKrkj+mTdB1gcyxAGumpNmgoHNjTRHXQ91VWhOVxUrM9BvwILpnIyvzlENKOJHBJznS9P9dewa8dx0s1n1KywCmmg8JRAChvYsip8wdoniw9MDDv7ruJIOsjQ55Ro5o9d5CwUtyax+qsTiAj5w/ONVcn//Pj7380nl4ksCKIBQqMVLZhtxE3kv4wtE7GpBWQOu3d0Ws/aBOj8pG+lSwZH9W0agXYHdSsoXHE5IIixg6pllu0jIibEotIJx8b7rNEUvirVbPrAYFl7nSGtPBEydm5NxKhee5zQw7aOx9UqLjVT62w+qGu1DOa6BeKY0BeneyDyHvhEU3ED2vXeIOK+6kro5T6XS+hagp0e5AF5RjRFxQGCk1qSurmHDNIdqNLT5Lz1+inFhZplWi0TeoWNNCuNqmMwYYjAEzjeE4WsRdNHC+WK8vqefD2fzQYLfCUmWX3cS+Wlf3kGxNJgaNhN699B3Km2JAKRrCTo4vvFRxUbbGXNKMDYAaKKqxxX6sBbgdRmLZlEfvX8gRgzbvQFkQafrsinoLDcOLzXXGcbns7E0vL8JuBzF29Yzo8GRRrig5vbuYDrUiXDV2tfRH1cRrKlXwM4RyT2dYdgJ1jIeYlT+rCMTPTnq6iJGAheL6mUypHEscCSx+RmAAl2RxsQs5JDs298hLBfPc9OSSOYFTuKTZFjPrIgcEo1z8xi2+O2qfRDxcp+Icd7vB4b0B9Hy9DCqOIx9sOdE5DOif3R/bvTbGZwkRfSE2Oi7M/cNPWW0atd7THGhn9HMm++x+jx0Jq1GDaxqSkpcmVC4ZHf0u+FOxkHFGSkQ8nLc0HaA3Xi0NLdT5QHcgfl3NRWE702l24LexNjH4NMzWbWpr8eGWL03our+ofkMq7t245i9vImdUOMF2eiSZvFtxBBreddsKTpE8X1N+xETmQ36WrnJ1j4Dx1IMcPefYrXS8FdFhjJtzABcAy2V7EaSeTUk/9LfglC9vuMFRIJRQmXstTAbXPvuyS4PASv161LuXjn7qYT5oEFPUytWxrw91mr19/rnVwIvuLXYFlxDmp9+0NIf4zMOYMSMcHYV+DwRT/1VhId3T+qQ+/8scAElQFnQKC/JK79iTi0YQxbP5rlP4/OOn8esdZXWK7cLZdIg/6+ICz2bzlM3o49oATqu0/byN07DXe2bz1DYI7gOBeDhiTJ5bpsqWA52ORHJ1GQg+DEHTWg092YXkGr0kibAdtLqLFO7RsXi53kpc8jM6hQkaiSz4ulw03lmGS6KIVTw5Zfdancgb8dCvtgQeGDqSol2xLVxcRpIFXHDoa5L8oKegc0Frehrq7/YbXEk6Q48cFD3OCV7roYx99+VnVcHAhrYdYKoMD0lmuNmkl8kvk7lQ7ZFTvRT/nTgBSaStxzuzsU7CFzscIWjHvHra6xSXWHUQnl+8vj5QDz+nhIrqnoPLav0/iSHhoprfp43DgCw+cOf5/+DMxHX5Ri7M1xbh2C/Bg+ySH3DlGTwzCbsZ1DtmQiGPu/GbFVjTq2QGhhidkKAAOyoMHAH4/pQYPmjuLPPnhH2Rv9LOC94A9i6C9l3u2VMSceF0xPrG3ydej9zqk+/ex9NHFMMEoBm8kdRa3HL3rOeHQVbc5rQOEhtcLFKQuOZZaSo5tpxBVLPNohPl8T1wDNxXEKgFs43D46yIhq19lLuHjSMmX69ofu/sTEJ/dwhM742ynUAsvogdxMzOsvTy5XaNdoiW46p4YjmBRv1w2C8nkwhdYJPp/WaBn7QlQoAyB51ptJOoRBGa1skVuIYmKp6HyaKV+GcOPSTnOhqJN5VIV7bedHZwQqqnw+RxKv5oJgcNlyT8EEA7B2si9PAOuBgNotH4ygmxP0me2+z3+oLuCfVXJVYZXJulCJ2JPz8JApfH/wwhm35O7zvAjElPVXXRFtIVtVNSnGkHhNcWAW4EDUXzW1VeJrO/eRqISqfTrqgGPowrqCzfeqWwSS4b9i0XXHRDedr0vXWve9i+PUeLm9KXacYR7dSrNm0GM03MxOnvMWfSaopfjeP1/lXZWJQLYXK8AkeJhcG3G/z0Rwu0B98yWAWiJDODCuWflZjR6O7aLnGUF1AZ4OOvpj68oJBpKpisEAWm0gz0kb/Z57CyrfHH0XUK3Bo8U9fmMiV6s675Cy38d+nmwLdctqaahnNjpggz+YAvl97TeUfoVoa1TcGGEabJdgTJlvP14sj2zcuYN4XBA/naDXhYIT0JDJMCqsVDOAJWcMN+0nCkCe4ewnAeYgBK4xyfUYRptueYST1YrSzTDkm6gi4hcOg3DsO/P4Mi1Hi6zwt91U8HJZGoCMDkwa6ers7z9ql3HRcrcBTv8h2SGObMic9IzfIkYIntZrCjYefEq1+nKgF3ozCOog5G+FboQkx56PmPCD9JfeqIzeOWiBCsJlpV7n9mMHAgA9EL1GS6q4XelyabpVIGaxxqT7nsmq5SYWUsaSZ55t4grEiK3NfHaiWcF2LrTcoHmukYqS+oLAj8yFkhHCacsWLtRZlJ9uKtuGuwq2ugQuqRC4V37M+DgFr0+mncwvxjPTGXXr7n90v/7YaYsn/opZ8pQL2h07X7XZWuw64aOuI1D/Bx9jnirJAZIXwFbngsY7JlEg4Xm2ObK62PQOJv6afJGNmO+JfpdfxkliU4EOjwaSwUC8YJ6FLCnWbKIVyPQi8LTV+GCbGWBxkaXbPE++5LUeLnmcm65Hxi8zGfVh+zVO/34jUr/uxGiU2j2rMwG2IVdjxVSzHX9siSLR7wpsrwhMxiqA9iIAV3vHkXOwgaSvBRYM66JmeYynk/q2bqKiVJvymFPDCJZQBNknoQ+MSMuvRASPj0eXFZUvIDvw/Oog9QYqNWc37sknKOZcpzL1tp+uE4e2+zxPiJTkQwFjpGixJBNoc8XyFG/404XQxiRocghZWPqtJoxQdCnBTqbie8hTiPr1tXej3YxRrh8G16/HtEVABVqLiOr5M24A6Vb1G7mie7GkarR8fcIwIPP05En2AVc1yzffO/cgYiFkB8jbv4OatDW9szv71kDdntT7JhVYRzq72j2YMaCRBEWiGfMkpa+4ZtWF6wEPhXjVoVxxc//Vb4pY7bPu9nToyIKTmWLWfrNiajwKhuEoA1czS1WhOs2WiBtCdBYQhdB2AF68HgPrtHflPWU3i+Kx0A/LDKtt/YwUv4Hb0rv0DFGqYfmzegeYUh+uFTM3F++UAhIvCk/nZbldZviQlqYg/tRZGP2bAbFWmknEMunRPtndZzIfOt6eiu+C3gmrh+N4SEUeIFi7q2IV0AYgzA2B8W3yiJoEStnDwidfXbroTvjdXWXt/xTrwSRB0DZnJkZQOrsNl8nwt/yY3Oee310XvjdWD11CWjD3MWb/2eYRNzf9drPXJBwkBAOrwVFCbRIExvNStCTmJ3guQYnPuFJ09pEo+ftlKi/2XuzXb7qf/N20kKm5hcMlpodxDN8dGLm6pyVS3ZXLo7ayF2bat1392N23jYCup/CkUXQz+CHJlQ8Ox8ltU0nj0a8ogfvd1PaK/7QsYcM8N9u2AFyB/bhvumcsiWzmboxU3Gd9VWVYHeAR24QhUv3RDzpo0OUf2yPDQ+5LPaSzQXiK/eHZtaD2GBdLDy64ras/57QaFDJau+UFYk6rqKoU/UK4q10002VIDII2yytg8IwLE3LOt9cBtUI/QAyC/o9o2/7ITa5R2clSI6qCDMd4584riZKOI5wafEvUBrbuESR0Qvn/p2M5KU0gRMsv8YW+uZG7/0CAIWy8ln1uqyF5eN/c0IvCEH9O/qRXuoBNCkWb3E0Dl5LURuPn7mX31bzSzJ4OZaQ2UeYj3J7oDQSyvzrRSX4tJWjrSYVcDnJmiRBntdsJ8ugrs1Q+aqHji03PVojW6b9untkPbvA5XGhzPenoOPXS6jBTvjBiOeQU1xrR0W8to7Z64gjRviCeEf2r2Gm/WXA6OPmdLuobOUPqVJ5s6pekfS8SpgN17+I3wGxIrIxlOXx+W4VgWHkCgO1VWitZsweva0oOlYt3q5VJU3iQ4nYaDNvxlKO+FKDeFPp7AXIGOlFWveY7jU1Gyyo0Rt9hqniAI9hLe/NebhH3Ydn/85ht0tHmp70W42iXNillsNp8GiZYOU79BfoBp9C38CXQ4rl6keD1f39QNk6nkJh7Nm5eNHjnFeszMNOfhhVawi9A6OANQ9HmW2biQffGLZpjWsp5P1B7EHfF5NbzAIiufzu4IWkM2uz6pYTlPN0b0rokbsI/R6gFTIFMZIgfVVj/AUhEmw+ZoX+yp5zob5PEUl/Rn9OXs9UH3h2AjIzIo+qxIPhfvpHcRhPe6hlY4uSkdZA8rE4xH8iULTJSvS8hGZwrtK/amOfa0EQbhU/I/m1tO7h0ROPKf875reyTnh637LlW86fd4dXs8VQZcWRWp1VsAvbMzM4xkc723SADGK32NkcA3ZMFxNZaXvI8a0S/2tTvikvslytuG4Gp4cba74fIb64QUYFlzr9DELgYqZ6ESP9GGdZSqMAd+9Vf+NaO6cmUboP+ujD7Qlt1X2NPWBE33zf06trmshWkdmqGRcYwbVSOMcwd3F+p2QXByl/oFD9Q7gPKjFz6zLGakShciwftpOQNPgpMBuEquGMfjdXGs1TpTfZw+jLttIGofPJLmBxDKxg2dlB7swyiWA5ivndHkOKT1MjxpFrllGs8O4ddiRdvkBgKHUjhCe2aj5oRJ+k9WgecssJUs9T22ybKxz37aqHi92ksR2nmYWEojpgy78xygrq+Qtd/17b2GZeDlaqULA9HlUtv/PQnCu1aSDeNfKtVieeFJqNSLLnINOnQgDIWE9yEkne6YdwaCiYVpmXVcBSbZxSBcEK/dE7u12FsumKB0P4FYSEQv1B1zNbGxGnoExeuJM4lotRu39i5s24Ov5A/nrFh2KZEi62QcllEIRI3jnhaAMAeGq4m4pbRdFtGhtnlqJbxNAMdZj11CQ2yHeCvH5PyTAXMRTUjN3DAxA1jUjbxdkgCut5IewOXoVzec8U4lQpAIO9GQCE1x2vVNvdZ/Jr0MG/GpP2vQPMKBdD0FXxyQHQ/9enLezFpcyqJy+9leN95SRm3B7bmd8BcHe5qRFDN/z1T5NKZB+v+mU++UfiFDnjeXf3e+Wvb8wcPMS8CNE89C+6HbYMv5Y8H7fDLJuGgt5hRui3/6m4TWE7yHRTTdAXBgsSk/lnEutqc6HLylG3cGxI8piu8ScopObDqEOXhNmUBClT9Di7xdk9FDmgOQF590lL3vcQfCoe4EveHuJtDufGxToBWnNSTgpaupf3g5A1AwKtEXtEOv34sGHOehmzejVdbaSznPVEycx+XxUU9d5uJVfu6KEMORDHwnxmXo+qRgLDTQEQb8/Pn9uvrYy0+ljDx3mAogecrReS/ZGIz1qXsLKkj3y31TUM7uuX38//BhjKGrlF3VdXG875UBdFyrAcd55OscyFUPE1jbBazBcGiVkjKzzEsCJgmvRVlcbiRy5bptQc5+3rFbBwVlQABpu4DQBKzzzHB3ymA2oeO0NXnHI4alIFgZCtgyivVoliODHeIrEsm4hCtZ9t5MXmpcgrH8SEG3+SeQ2U+w/5v3Ey+pjIdtToR/+wYkxP2+zd1207yJs1znhrJsdxYoZovmMcs9XwoNAumI4ogzl4LQhSodJGj4V3Rzx6+5tawKtsvodpc2LzW59MndHkMnUN1HtYP5QNa8fU16yj6zjCR2TIgEz2jMbCvjsstGcFvTGsZMivs0OSPTx43Rk+IO1Hwt8y0AT4d5gVU3Z/Ty9PFpeql+4owES6GDQC8+iDN/U/R2PhfIJT8z5wR2lLdCGF+kOeN036u7ofLe7v+vogW67/uuoOc81j1oWg0DeQT7+NulNL8YFvGcbV9soPT9I1tOCpyU6PTjtKG3ljVk1nn+DcgqSEzpmSJe1KDSLH2U/zzBNNmnNOVdmqa6+2txc0bOediPGpy05RB2wlHFfal+CHJjEzr7jbtp/V4X5ZP1MYnftI3CPyLSyF1mYMqQIueHQXZBM5xsey6ZOsy8PpQ4aBCmTsCIc/XWWVolY/nbQRogPJl2YRHyUCANIKeMeDar5+YNetO8igbzXv790gwwvAVpdz0d8gtT9Pl9jfocdd3EByo7yexLyD7EvJZ3K89TrOyFQV4VCJI4NFxW/v3trzwiH5ek4d+nqnZQb7Yv7higSFLNYRHW2QHO6v4zGYpAc9afsCr3mvigHG2D9y25Yz7N5uPu47XclSgwZJVFPfGmdVGyGLMv2Th3oxJ8vY0y4cjNMzpxagXt0mOFW0oOZ7vuVY0XxVlY1LNUyCeczxa899ZTpOWee68qQyFgj86T2OgErJS3uEQHdshEO/FPRq8O3/IEu1Dai4EEuqPcsJMMDs/+CKd8uynIqHLrigqMnSDYWEEfIyALVcH0WsiwaB7qCfoUrqakrUtjFCKHfqwKygFVZ9GwJ+hqi0/b3igDjDPbhm2QawHIEzmbdXuDkXFeFYQoWbHl5NKGH/gIPa+chy+q8+ZhxPGqSXmENp4rv+A3R20z0x9yVUs1EcT3aW+WEc68MD79wnPDyLNde9tnfvDayxdwp3zMA3w0Y8TT6aWCi7GxFov+shXK27v9rtohBeAdqE1O3qxksChHgaAV/TEtXc2z3YoVTCMkoqW1pme4zlUp//0TeXWzXyQ9iHaceIECAMoRmLSYykIHDq5c/dxViBMOr+9I6+OiL+3j3lZK4utFh+jyvZxVW6jtkhEYKiugatwxTW/6pCYME5hmEMNkyLpsbOD8/8AOmI95dRe9WzQuHEqcMsmyehC7t+WGVQQEmwLyov1sEfRT8WPn9cEUNZ4+MWYB1sXQe7OPjkXqtu7+w9+3dmsE3A6BEHyVbMZX6cg77bv10HBEAxbRn+HC8QsMFKZHLycGymAMcw9DSsRc5C6pqPxeuk9TslBEhAm6usOozXT2kdRRgKel61wxLcEeLAg1r+T1NcV/hKJjbu6dHljLxLCwqW7g4E1OwEwROQe7GkChujEwfhy4WKCVDILQxxeswnV7s2D8eWIefaRhdnH1u9PFt+qGVObcgU2b+dHzsjSy1mpLPKDaGgmo23RYY+UyitEV7gAgsc0h9irBcsoME5Rg34rVH/9g8YxeQ/C0n3u0zi6n4ZhJgpiJxehGpQBQv/i/dqP4WH5eqdtEfvkMwJkzsCM/9tyi4buNI1+SB1nEllxgSVF5H9fnVA+V2Q7kZWkfUS4h4pDFjFV2vAtygPFIo2YjuzReJMe91apC0/fUbMaZyygg+SuTMj0g/nEtzoIosV3B8/2plgcAGq9TDyYKc7EYz4YA+GJmDlSw1RgelofW3IsSLmfMkTzBFzVTQvhRHelbQt2fZnW1gyV+PlKOgMUF30kyI4ofq0ezDxPx4uI6mXY0rAjgNAR9PVdiiRAG6UV32PLxl/ZU3VNyuh2nwkOsjW1eFuh3iecKSzmrYFHHuMM2SDdkLHUC1r5JZ95d5YiUBuIkuDGOOoSezw9tZTR+jZamq7T0YNGRw6ck1/iLw+52Wf3h0GztQJ0CUntepSHsmwHVEbGRpJjgBq8gt1L70f1dDcgQLo3S1OcHtWhv8ag6cInznaXF6FW4IcFn6B6RoF/KxtGoLPTFcjBD0sSsYIPf93pGc7oWAJR4GVhZClxdXk0FrhZsFLDasS7T9FAFqBtm5WJOqgcLiUJx9/6X6GEXGjHaOQaeL5X1QH3dQ6A9fH4JzBvDJqU3GTqkfBBOZ6g0Bgj+V48R/r1QOMUzTLjjrFStx0gJthlG+aAljQTK/5BWk4O9Ay/sJwBOkTR3NYMA44+QuS28uFMrXsJ1fDC4Ki2lcuJ/11sZjdwnwZgZZGwrJ1yurl0IW12BMRie2sTfQqCWuXIKb8pU2Rj2TChHfyAWVLU2xKF7wFMwqUvLRrloeSNJQ8iLzG/Mby/xWh6u/jSDCjP7+OhNgy0iAkMX3Q5/Hb3ijib4sy98Xkyx4kG13hy4MvyzHUH5qa0/rOP/+eR1EgbW0hOtqoIeBjkeNqf/gq7iC5wbHasELpYCbzCxPKuBpYdeMpDX8ivSrqh4p6o6RrdPO5C7WTmyXtVQXli1WHmo3SeUu5ypkEG5V/7aC909yFqx8dP68cFVoSY8Y5Itvv3WkI2UU2UXgMo1e0yVbgVOy4oHn0I8kg2NlL2x1FJrhslRjhCfRNYa4iEJ6MPyforhfZmz6A9RZ1efsHBzC/AbzL0bN3eH5FxpgQ7BtXVdMC6cvp55eGBNeQArdDB8L71hE3JqVjd7IoyYd2J9KX/hxh6ATO3oMxLgSDU5rZfOsFcwYinDpH6kaSDf3HTlfWgYE/A2ZabV5FuX4ZWHKSU52dfnJ5c0/1vVmamdaT9eQ0guI9YEqGj+lqhIniy2Jue21lzp/I3Ci5Jpu4Pqlj7qyHXsDIBs4+6ZS/5Ylj0OhmkVk0O4wRmOBWtPhA3CI3/jwuIP89++NkIswgdaCbJFgH/j8Bau4h7XbUN+QOJa0/foT7e71JJ9YmBp60aXDoGrgG3oWMajpVlQhZHAC+8zIkw6pdjcCnAOUCd7hp/np33OHoM+JoLPzZyjdnVZvzfD3GWHBF8bLB+hONae57PFxMm8FOFUgDk4rAfXzL/w8qkE3mwV0FstuQvhqpWT1o0xBft98LhTCzDLO968WNl6xgJ0H/im+VLMyb5q3shPiEveF8eOhcPJp3GqKv+u2tFoyucLB7ryYiAxd2Vx7HqAwHJLLho0Zf5egDAd47d9GixWIdNV6YvTg3U8SLmdqptLn2shOHOu6upF85JLvC1Btk646y170ApD0aBQ0CGOABqFEA5PXkoVFQE+hJ9gVnOloSWkGTXz5zJlAwGCYDsL5eJYuHKRLJyWhVXuOvtgcZQ6Wgl0CirFZh3XV0g++koJz2V8Pf8o1czOdN7sOzmstatZ96v8kzxuKWzRFNXrBXhI1BgwOBdafPkawGC5Clif7F//X/btE389S8I9xfNq7iz8rLhfBTKsCdY0hdmNkq24sNtzLSRfl3RwTw06SHhAghb49VoTDTrWwGKAPCRIz7ZuPERHdeM4eduuXw2B+UXsJhoMrcdg6rkcaejHzdpwOqKhVaFzyA1++HIKz4JwmD8kDYWv5uY/jx5oljMCggD/+HH5C023jWe519H7TejlWZy+HfRNGsb2AQua6F/xleVyLZNMoXIHcWyTiYHg77fJU6tGIV5ZI/XfDB/T6yKF8kQPxZYI1RHIKX6cC7fgS/Y7GsMuj5MXyn5pvwL3mPTBOa8IGzm29Mfl0IGQ7esfr7f36AqVPCIAk2tcK9TwW5SCHFKl9u4Ik8kxeUfOUDb2j0aQftAHwDoHVxyoru+7f4aDTTbLB7dKVBkpbaA55hXHONoGzKnd7vlBWFfoEYrq4rtOKtUhg4UnxzzSH/9PeyWLz4FT+zAF/eojezNYXATxS/u5so+Uk6NgWH/WwftUg9riHlDya0AfWjqmI6wfLHvOHdfU43srnqtJdbcKMg/1zHqM0BCYT+ANKlhSwxC1WMM0XVF7jYzOLMfFi0zXCrVw0OTeXozSZif1G+UvTO7p8zOiwZfPBXE4lnT7p2rmBN4LsgbduIKu4qryechMw/RZrhBXXdQb8CnWE69JgkqpGYyphcL6XG5XwUE6XEQzc96iv6hvEaDZM2D55TV0heUhCxMhGaPyewMRU7JnEZX0nCdDDVefwcMoI941Myg9t2xczs2wEPdpeD1X0RRlG3Z36BgHVEUg58E+Z13VQzAC/pNYjQgNh8BABHM7tWAyDrHppAYEBKAjuJrA7LkJfqPxTmj9qWS/HRP569dSxdlKKIx+zmsOn09RyXMky337eKDcCsoIznV/lhkSwyqKVwu8yY/qaDx//uvdppMIRpPEydHJNQ9y+Sl9SOd9xGNozYRvkSJYVnC5iRPUNfLveS0XQHo2gXLFSulSH/iAvbop5H2w37G8RxUTU984CkvcyXZ5yElf9Zmp5ImLgu/RcKHFkzeithQCq18L/cnvcC5/6o3NgNo6G1/JUYkujrX8p5KoXyaDq72Je2y9NBoRxjIJhx0neIgN00zs6GYbOkxeKDYF2+ICDs35RdzE0KWdmp3HcGsi+jSuf8aySesptsZ0GIH4sseTga78LgD67cTo199jMYPAg4frO+cPjoYnI9q4Hg3tkntI6UE9WXeqI6r1JAyAMiT3TR/2g09t1ru4HJcucSqur7bxKcwOSQeah090ProgvvBiE4sec8dg1iM6bqD6GkxgVMzke3yVVuDc/KgP1qQ14SCSff8vn36XuZn18EtMEKKWbsSW6tAjGSM1omkg7IW/nAGAevzgnT5JQEzfq0HuZdbUFaIn328TnpPLZm1LEancZuKo2qYWPFa1Y9RTQEhTaorTNAVw2JC34aTBYkf6ut7Sef6aQGhKo8JdoYB52jEXrmFhMLAgKN4/db7mD9auegZ7TPZcQsRUqReChy48FRHpOcw4W86YvzR3Oiz+fvczQ9eUSBqS+RCFI0I18REU83TUkI77mx7OP9OA1ytuBsWBq6WFZ7aGmG8SokW97bXu+r15KYul2d+0ASHFGepMwJiDacxD3dXyDTyn4/9FOI39iPeuM/yPd4d+0UPD4ALNcH4S1vUP1hUmMH+bLj9sqlJaFySJ0v0y6pibCAAfKBYDYBwHDmA5BQlbqsIZ1Sgf19a7ybNrMAQoPknxcR0hoyJpRl1l12cJs6VViLRCPVwiuK3y9pxn2jg6xHaMIZAxL4jgmhY5gEJ/tCKsIpYDy7GjiBrq++3udjawMrC6E2/JXaiuH4tml+3EiisCi3CKQk7GUEQ7FFjPTIEE5ZKvmL2TODvM78WKJEfU01yDhTJEqYQljKdfYEiUAbJo1SEnZLK0PDe8vqp2YhdjsZ8P0NTjox+L443mFvKMSwv2Ca9g+iVf6EJD8HeE3Nzk5Ig64nxk2D9lj88dQhT0j98DBBkyv09zR45/FLE4o2jknpOUZzbBmUHTWuxioDYHfHU6HQM5tQomMXgfDC6iothPjxQBoeEkwAREg2Iv/7e/A2S8q4m4s4h4R+jD4+TEWl3G9u9ZFhLkQY58ScrIuQOVBDJ5lncLq/ooIsnQi8P9LC4yHYVDiVAiSY41qW6i6xIv5y8sw6ejZsw49OIj7wMqUMPm2DGc/a6sFbW9/B1Y3Vx0qnyGwTrc7q/lDIUECaOOoNZxHF4ifonXnxP5m7uqhD47sGBC0M7tD/TjPRg4YyH5Jvk8qP75sR8oaFpJDMgMTSj9vIUoBQLfwmwC/2Y7qO9e66JiFanGmQ/2lMDToayEQCFtWOEZ57ovDMKzZYhGyrR/dBuU5+irruKmS7hAu32JUaH9xhrgPRyfE9yj0EA7iM2jRDVW8WFcNfy2kdE+uybo01FzudmMNlVUASLpB13OKsBntiu1jZWOWr6Zf4ERqcSTlSjM2fppxx9gFX+OVSh67ujiFKv0bMNRmz35jQ75cM1x6vpCKZ8mE7EAOZous7ZLKeFxqwg164joKctc6MwCQAx7sHTfCGs/uZPP1iD97kXDLNbV2PHchLjlBZMqPFZ+IsVcK1F52C7k+UjRcKKlI2XZSpHlTzQ88j11/0l5hPES9XvJoiQ20L7BS+sCoWQJHy5mX7AEXVbdFrRZvu/zgKqDfofJomVBeWPS930q9vL3kOxVg13aUQ4BwJS/C9+2nGFAV0YczYNXQcpzyUf6Pf0zsyW67L0bd77/yWNjjWr3LH5Q9I9XhZF9zUj6gA4kBeCtFjazBU473GCx94evyrhgC2Z8qP/Gi+yHfYVheyZnxssUe4jRAArLVy4qeuX4VCzwECF+fdQ5PnDdJe2weqBuuhJGpXPkgBhMGyf1SRAxg2sIbtK38gGnCsHaoVaa0Jdxnjt8FrVbQcSY3cI5HuAMCooMOjMGPCC8EnwGv3fWf7N7uZe+GivLZRsbFz1YzJcBzCPCGCjOuKNY8MLYCl/c00vKfCVmrrLObDe14EA14PvIjuIz40xHimiZM4lyLegUlRCUE6T4CtPM1k9j/FMRaHeKjGkP7BF69Uznn556eFio9zsWec76UO8oa0wUoTV78xKHBNR44a2CFf1nWH0/cJm9e41GlfK4ejxe4ZgNVS3Nep3+h55/L1214T2jYQGwtKy7+d6mDJGa2dSCYaSpP08npXSeZ0vo20TOCSQ3cpJg8gR+aVYhWcd85Lkf1NH34RyY4XZ0rr5YBfdRHk4MEIV+9k41EslOm3AUBHOrL3b+afJMFmKbO9BWvK2AnoAGhS3y42NIjD1cBXGhoEDkv4FoPccHxXi3V2vXZXv0IWBFdqwicDzQimXJ/88wSinJXT70br8szs1YOIoxUjh8HO8P5ERyNZve7gz52Bb7hC6iKez+uL5d3eqWkQ2uU5v/abdAnd2dIUPlowNAv3rW+GjhIyP6fk7RTvQ6iBFij97QBN+N4mgo18O00eVbykKvuY7QqeTQ1eeqb247potV2OP05G/PLlOedAD0kOtUtPlUUhHgYWx8qaOG4y9C69wTjrlIllhqQ5eQkd7HSwG11hMkGVZIQuNsDSb+hHib2A9gt+eLyRxEGxRoL8i/2rIFsKcYVqSmK2AVHCcPDP2wfjpGE0tYJWxvIHwMRTgEiKYoKFidGULsYAmtUxDDJPIvtyqryE+gatQNy3W3yFkstrGTjQ0Jt7hyPUAsb/zZYAXW1uXRO3ifyrTNLlcMaVnbYy7DLCeObNPhRe4Ez9ac/X3uoIyBe1GZIu5HwakUrpgHSSP26Mo6nyH2yQdQMQkM4UbxpsTgB5DrB3OeeXWfP1iEBl5yskqV5R33rAt8yrLTLSaREUJi80Eu+jPSTV7UBL1bNG5xG6R63/bEbgebBzd/qTxgCuCAt0F1Ez0LkzHgKg0kvr3jgIpAI8dtHHFVZ0r3ECbLyPx5CFK/err1eatVbZ/KdBvtiYq7TSWmCxdD1le1L29rjHlcX1YTTmucEFSlrrSBco7NUp13OM+sQ/7z9UrFyFgiOkWRFxjlo/LLGY/eJDZskQXxyxOPT+p3VAouweVJlxa6rukaX/noaexFWbLykjo2o5AeUVxeG0OdSN4tTDHskmUvVd+fdjFoc1JVdwQ/n5uqQn3csuNr/MGhMzVmLx8w8xVLMI1MhrmZp0vahJUFpb+GWAyRsdq4IaZLHvDsOAIkhb6nXl+Kbi/CVoTWZf000vyl/JKP3Y+Lt1JU4UDMowkoYVTpKTXnQsFCfP4zUwmaAVyk5Gvjz+PTnIHd6V6sI40HofvkPqKM8crG9Xe2tMoBescyFHwrze4Sb/8vulMOou5NBqaUuP/APq3A0y45+Fbb9bcTNWfIAFcexpQUuvjfkJot2piwX5upKsxeRpSE8hHUenydoVfpo1Ji0QvajAAZ9FIHzaWJHLh3708sGZ0JT71guTporBWCA6Qp/Qmwkswag6vrdc/zEwcYtndPPtbAHwexynmL9Knkx5Rl+Jhtpj2MioknvW4FgUYp1lDdngsJiNTLYNBNNkOlkzJFM+8f0x0YwBDFkXQp92H8Zi4X/OfRwqs6IlMY2qWTQRFk/fUFR+UQzHAh0BTLiJwOMtWUvZM0dRwULoy9pWTMtrRNsSniabnm4+81gX5b2hEbM5G1F9hVNS7iS7fqWiskVgsCYzgLcqSiRFyP1HRHuyEZ3nB62YRoJBb6kvET84MeWq0uf6qXKzujUf58bJhr8R8doOzA1EZrlytrRQmx0ImaQukJFktCAhmpXD70c18aBOVqHnqxWTmnHBQiSQePtzFE792rwGHaCM63CJe903GxXv07ADGEAYYt8lJvUpYIEHXXeS+kkr3ixyoT0A4Wbh4QFEmmcbL7iOVu2D2hnrrodlIFwrqQCZsUCUPiFSH3uko8RTJgrCVB/PYPglxJjiW/5Um135CYHnRXgZxkvb962w3zFSspFBLXlqjnWpwV3PZ/g6YhsU1K4SUX1c/3uNrrCacv5iGRy4l4OtzF+aFVR1XVt887WfhoVl/0T891Ayau0l+RxWrlME9XzRYljzJQOnmG71tW+FJeYDkiaeIR5C/Bmm26Dq4kq5xVKz1W4w1/REqTuhi8T38sRAIgiNsiuwXMng3pvg2rhZZrQz6kBhhCjtU7txcoqmipi6rQukwCsi6GnaXcWjQX3w3CW5b8pjG5cQnaYnjX4yv3OXmEI1GFyuhbIlJQouqarkkrySkE0Nie4oCluzauSUqP71Bif9jj3ZUd8H3GC+VSTtul80FUIG51itAMo4zCVgwkSWz8/4UIeo8uYXRPWkcbWkWMkM02kBmgjzlrlvPEDKC6fLEh14uXXvFaCXOcd/f1nPiF6tWyM57IKTSRpSwIP5Jxa4gly0u804qpqsjLk5ZKw2mXdVfieLZ6WdtSp2s9DE1GQWjgAuD9vHGRj46ydheHgLw2gPxUXdqKsUr8HY47+/irCJxE54TsneiMGDFl0GdraM/6yY65sj+iFzH/kLLkhy95F+aTLrPtY+YJGcXkQL475zXWvBlAnebmMTAbcNmUAhY+tMsdAIQqGQxdHdXVWB7vSuqEu4Q3qrfa+NWnm493sfUOyKUt4KcEOhqnfYwkOXjVA+pU3N4Iy81g+G0+9tiV8vG2yY3G3yCFUfcy9uwTN1/P1Xz810MLZZDcyICqAZ2mHY7eD9bNiV+Q9O8PeYhTEy3efHej6doEStysJAx83YwCRNuEqZ18xUlnIuAKwL5/Dd2HiwSgbNcx9gCi3PSVWRMRD4jqovjNjKbWJDePmODYl+go1Pq8ZzQ2FrQYVkcJsH3IMYCQtxB9iO57151ecLhaydHgj2Hm1Zkzt5O57xNPV7DvS8tbX1VNgMYRC0xnPU0CjVgsJ0MaFOn6lmcQ8+sMtWkR8Q8zBXq9+4IG4nm9FA4zgdEq3geKJQAMfDduNPfVCawxf1oa4R+R10WblBO20KRWBhiVn3hG4945bbDW58X0hgD8kPd/fARp8nonOBzZiXO6C75uI8fLsyoWWzaXd6V4n0sgfqUkWw3ReQ9cQanO2vJotDw/u7i6+acbN7VU1FXjdS39dwcVRvuzFaSgM35+PN+Ku+9ADOLRv50mguiIJKossIXVaxnSCAHZ+sZYmslya0YoSHRFO7pZdafg2lOTff70gE8ltv2rzwf3EEbU3LhF7a5ngFGxwDMh2LabyzlgC21IauFqMMSw4YJzSZYI9ZnlMvgrDlv61QRAN2QFawsn8+EMYOKE8g3s5MPu6FD8UsI2qkjO2jk2HhhrA95nxZeAEgNZtYQ58RjNHBiwhc57H3knRfaSWXhuMV1xe4HneOJbxvk9kb0SO1xO8Gew3ZsOlBqRrZ+1iAvZyzPYjSyzDPO+6SkGLzRepjGstnF9iDcGk1MNuYsG2GXHtyaMMuGJ9GU+UIIhl//QnAmBXEK00eEeHUqXjKykTnRvBLku5SIxBv7avHkK9AgatymOxfdVGnex/O+z2Y/Dl4Xx5G+pNlNRzghg/7vT4ptsCSjdlLH4NaQXQSdgCIH1yX8anBHXNhWHv15rE1hG5R1PfbOOmUcZMRUnq02D1I202k0/3hjXNZWOr7DR62WHT0k7gGeehQnolHTEnXxB+qSXR2aMyh39uqECX69yg5JkTVKVDZvkIMZ8c8t8mncDwJSBw/VA/GMLd2gCLh4RKFd0ah1lW+wHiXzhWua1tc+MV/8YiPUt0QJRxkUKqudrRmcquyoD7gU2HA1ulUqxGiOmK1/UYbFXpGH+hkX6Y7TXg1zcun/d1CVNOMXJRXumA6mdlfyNhL45qQtBGsdocgFaTnEuVY3fxnayG4BAhL1rFyKeDoVsQaaWJRqXTty7bMDqHVv3+0jNvRRrJYzz6uzV0kyYma44geR4Hy6Olpv8WE+N+CcSkoo9ATmziJ7xxCJsLzq6+Olln2tFnIi6xnucTMucnftsBSjDfsguCHkhegh8RT4M7eaBrzA5OyHNbmXxGHEwfnoQ7TMS2voYbHPTe5uNgRS2fm9lTkTlR4fi2vsmH89azrbXkcr/c1p7oIp2uLLjxRA2PPhJwvbTa5GJorUu8MjhhD/sF50fozkVOCKSN3gfDyHbcUnIOCwIq4zlgxfGoJSk6Zl6TncYWGvYmBIghZEZC+7EsMrlV1Ckgx1R67Ubi4+i3/ISH7Oo8ISo3HjDpU5whjWsQKJWjWyaDCTv+1nocQP1VYnkjJ5sYhqLN9k8mRYWSP4H3bFMCzxE6ptsx6NYh+sA+hx1q6B8toXoq6fSxOlBIq9OafkHf+57A4sESt6s2z3HC7EhlggzepG1jtS6GgCXOvFf50yAtPYjL6NV/PtKU+9gIPPQVd4WGNsKSIFnMaoH7NhsIUFExnRIQ66BaxPoooMM8T973N1mB8BdZ/w3usKI66/PAgiAsAqa+Me7i5RqmPajTcFenKIdzWlTzdHPGt4ppFth9QwiX6XStQtY5rKTnO9R0fxg0bhz/76d/ggxYeXaNXcAMvUxudOzC5aX+aITHLNdT3iAd5Kpgf7MFdRwq6f9SfkD6ndqj+VrzJa9jxs2xg4SwWC1eCP/afplvi0NUZYvxDjxPjP2NRSiiHs2QwoOTIsblhgwVUoMkgJ7NzuI8hZ+2Pu9nsXoX1RrRjdjMOdEDAGPfhM9nQx33DvKiih755UjHjqyJ/gJnilgdu+q4Aom+Q7Yr3jpuasfh/gP7SYN056wfj4yDdubZVexn1gYp/BhFlpo5mgzxcH27p5dbPnR4T1ZGTFgpoI/EvRQ=="/>
  <p:tag name="MEKKOXMLTAGS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RErzEK2/yrCgrooLhhrRxyNWIXY7OprMWifEw4rTmTyhnHDoTpIH7tDGjkmPRtnXrpu2BJ/0XAM9zV/Rgw5vOGKCm03Ni0+rTs7vsIAJVGvLVb3AmWLVU1Iijq1UKTxuVT0A0knj8iX0/8mORGhBkRTIOV8tI9itls8/M7CTiKi/OFB+z4a2/ISE1vUxcsZqJBnS/VsDtpyP4AInORZk6eXXSZddj52yJIyjzMy+SdiOQEAuDEdNzq3zqlfAq0Wq3+CQadPbSxF+PffLOjykejdJLTyeEMDCn5uQYq97iAeY1ltC32D3l51xHhGGD9QamuQy0fsiYOKa1XYEGSDTleVPSiTAB/JBY9oDhjUZqt5xGlX1Ep/u3l3VrSWrbB9EHEFG8EuyWInA4GyIQH1q1ht//7TYd2PN71NlMAzgR6uD8fY9JYCU0joq0j0i0vC1SeWG4mysCXhcPINK+i3W9Hk2qv0PQ+yA6wcBhQCLivCfuG8XRNGa2yl8g92mzsx5wY4zx6743tWP7rO7RZgc70QSdL1c2jMDnpIPIaLn22rufT5hQc/o/ynT+w15zVVM1oFBXqusImR2ZzOsb+OQ8u7jsLL54Vq/yw/p9lMMkrOVNEgIZOrokN7XlNY8EmtmbzXjOXQdXieOz818Pwt+7zxrbHqa8v2FQ3vuZG3gDPv3+AiiIKNJcjMq/Cdsjvx3VhmGLd3vls8Ii/S3h9yBMksGTNJNwgUeFPfpz9dSMXB2hCPZCf4F23VkLknVMIXYZ0sxQ0mJCf+cfUQ2DHtmtOi1HL7H2UNuxV2zfFd6c7fMtzsIfhzkuuZJpgMVgZbk3lqZC3mvs6I+bcpUAx38Oa5tfO4oc0iK57nyVFZ+2JOYFA2mYr5m+hjcSX6yPDGIqlAqVJCA/J+Hu2X2BMs2VJomNmi9BOAa1Qw9UuBQjJlcMmcpxxRGBWOz+SmojYOUVPFE0ZqZIVLcuTqJ6XG1IKZn/+jdbXGvY0yFAvhiddRLQfBGJxbqy2BhreeQ14ORHeyhgZNK7HkouZb8ZGj9AbwzX+NxtFD5F/z7uJUflOLhEIKcwzBMwZ6Pp/K+PCluQSkzax/NIxhuw6n0H7k+UEInaIY0r+i8DgRBe/2CnKQ94LVjJvtzpUotDWpjkL2p0Nl2vqx0UDHM8TOBTfS1ihLIirVCVuGEV7pqWHjJzO83EWWbq+sHRaIlhvvgYo3wvQS7nSXr2tIYnd8LT3U0H0EgeSmvuSBXaePB6Afig9ocD4fZCY809krFXwqm4JyOT53I5SIqcT8Hh89elzL9Z0pgfNpN09PK1hPgBt7irgcfRsvIU+6vmwU+7tsQBuf0lwPIiSWZFKbZ/zT0dwPWbB2FrQEybP1BKbJ79MJnp0kfTBORrhy9anbWmiOBY+eGnzYnwfJyu9ajt6FqlZ7vPntcfHLxod3yfb78TaWzOwGJHCUFW9unF6hwC49sqo7VyQsvOkmleAGQonfe2yZ7aOMggEdHVFecsd/WCDuVQ9d+qJTTkVlKxUC0rSqgbkGIgwrHFyJsZBSuvZLUmdD3pSpMJanihyoognWs6FTyLVdi1acDG7keleUDzgCJkAi2rg2vYF58BDscUC9wH86qAvL/22t4aFKBpSRWOJt4LHHKhdYQ7eXUlxCFw2aSIzaNWy4R01noR8GtK0N8h4E8Uevrf3MLptL5IUvjtpNN8i2qUkY4BL7xjjegsjlhwLVSJh2QlpPeGAVrpDdF1JdDCqfOy3qirvnHJbYA/6N6IHMoYeCTo3C5m1NI2Jz/jhwYG2LRU/T/Jh7+kbV/H47jrwFYLMqA74kNi49PAxBgYTBu1rGQgLufjqH6xXccEj6ZCm8CyaIVgRjBg7KJKYR5B1etM5L/WLPMLJOOXxquixczzxCR5tS+dV1q6skERzjugBaThV1CmM0B9Mu7CfB+csMn7doSwzgit97+oeFKaE0AnvdSH/zOaAsE/PzmXo1b1uHaGkb/wLB+m4mQ9LbKbk1ZVnPPkFuVYV1ULz0YP5/f/ZQpLYSk2xR6PqZUzex8oIQ+MHT/iat5/KLPEVmtuWnrWFHsbL4lwbupEcmNWUJU3/6Vqwa2PHklxOrTW5jaRPiY904QPzvinRdANsordn7CJoAw9bargv1yG3J5RxWc/PN0SuA7zX1YzkPV3jErOzejIDk1Z9V03+dIcwckau089+HIJC4GISL4xK+1pNXS2hcfT1j8R6HQjWsLO9bGlkA8VTmfHunqBL4uIe71ulGbqNTfjk4+riFtK35PjmcQgeV83gtQVcl403gI9YIxEHRL6/a1xLo5vX7tGLo7+KoSZOGWfR92RehjqN7qHWYIdoCF8PnNKDdhMkHxB18x2Dm4iYuk06XRgjtx+UZ5hzznm3PAg7SrKkS7fLcvZEsEj0XYSNGkRea8pRdBfTvCSzaOTrLtr2a6Bd6R/ycr/HSjLDhxvfJsxqQR+ylHAA9aSRHcosrAeenqd4zM3AqLUl2HkH73+aPcCZ7AIgAuK7wAG6pxfXWdya0f5IG0AqEsGKQ7jsdrrE/AHR3b4D2sGwWJZ/yv5v39geirSqAPDUiH1bZ2AmS5FqLlCP6ZsmncsJL5aLI7lcvPWIGJ7imBmLz73rjvWntK6les4R53pR7QaVE3/1tvgsQLWUjuhs2iyLyudKddoNSmZROTUs2LJwNLaoLC5vlR1pI9Ffg9UzsfcO2e3yfyNElrMsMu5Zk0RYj0uDctNvQuw5ma38+DHYnc3tzVuurWkPEypxJenvRGCn2G26f9bpNbkxLtsUJS3FAW+o1ncNpAiZ+2qMPlKYwXOHofu4erxMcm95GzpwazLHg/+4rPxomSHAjX4GpsB6Vu7JHCD/mhI5j2mdvLoYtdzxBW9SYmYHhztiM8adv8NW6rXiJVn2fyZRd74ZlSrrnkZGbRTsTty+DYvAux6ITuU1SA8HHa/mLeVPQtSjAnntdizMZGJJkSkDQXb9f6cemjN1ee+KmWOPduuMUt+RrTjMYgOp/ACR2DRo6MHibasCNqcVqeThP34c4rzRbFfez2DUoDQPKmkU6fAmdb4LY1W6RExyBWXdQfWtqPQC82GMRgbg8t5U5XesAWQnJvxrDTNPGpXJYQXaRRmyOFBnlUS+6JJjuXqX4uFX2z7YTTZ7Y+128QHamhUk5ai6rXKsPmbgaL1XUCgBmWEmNQvxVmuq7XLAYvfdg3M1DFq6Ff0MoVosNmIEmuWHvenp31lorBYGv9SYdY/BG7SF0UCmHfPWzxlr01zl6eYvI8AwKiu7NkhdrFCdxcpDSwIIbXhA9sBLG3/Uzv7Vq1iF9TyHXxYT4dTEKjoL4k5fNLacvedokjuzuyHqTfDRCUokaRZMlJ7F65rN01d2YcE9U3apUO39jubrpuDMxxzclFOAIPf3Eu1ymVV2I6c28MV0rMvtQ1hgRK5+E9lUy3nYzp7JAtCx4m45+LLXjGGUvvnYvF+bz+JvqAzJW/D5KAjE8mD7Y8MGiYO5UWMxZpo9M4Se4y6WkysgEMKb8lrirqVmZWPEaGCzR4qLI5nyzAJ9Sq67K74qmXgE2979Xd3WLhwaW5BkvzNSCAky8A5OECbx6nkHsgsZtHX+tlx+JxFVdYgy+J2gdIvNsQrVPqAH7JNy7vcaJ/P+7JzVkxm2cVOYk0UjR4vleVS9nG2/eZbkhH/x/r7wP8+P+/QoweuQk6uLtjdKqlX2NtLPVwISub3VsTid9LF4zLluxow34e5/KlJGKZZOAHvhVdOJHEldEu+MiJJaszg10GtwzPLOVOseBZApBRjsL/8ON+J7Maf7Z4Qln8UMf9atDrwJem8N7CYT5UsjJWY9oHbRZ2uW39yYrOr2uy8Dsmit26urkDNag79BjV+xyjrEbFv95ejNz2AJUOnqS0oGGmwOI/cDAczyDX6n1LPMS16epU497IiP0G+dnEfyE0bY0EOGTAc0/1eMGPg1xmRYTBKWubvt5kBmxE46LHuMJErxn76yUPv3oV0UV/ldcFKwk4syUxKA3C7Rs7gwaXhxZmRvpTJCDSP2p7ar74h3YnW+K9yue0C36pBz5ISaFVUyIUyDt5/L2RBjPKD9uF+PWe5T1uxv11GkaYAmcjaOWlSUefKDizbenW7jVxbYAfnv3qQUfTvo1v1OBmpeKWIfOm32jYRwsaO0B7G2Lt6kvmlCdiAC+yYTk41TrSDPVMtVJ2AsjHromQsxTU0AEpbzDF2P3pmvv61Lbw9NAV2D8VnBNdQdsp8TgCP9bE+Sjp2M1xE3YRhH64IXA1mr4GgAf1kMdHO6snHSIvxoitumvpibMgOT7AuV68TyojmUCpIs6r54OOHFSMJVxLkqr27rlWtm8AwjckV5G2diE8Ki9pYqE4DAZ/Z+4IQ/3ZmBLbqxckIyflsxkITjJuKwMRcG0PeRh3ssXCrm2LI+Q+mv5P7hbM6JG4XSZo0CZjsvCynTM6xrjekiDqdfZLcb6zGc0YkYF/xDORymWHjgPUz8PnsOgQaAmbkAmTbEy5ESjs9NH4+tOM9utCIhgLRFL4JabtSstAdw15JorSwyQdu8U/6Z8FFwE6hSAnbrHlTOsmFcOcKQpF10GJ66qcHR9IHL0cyH6QCGX9BCWCThNcSZ37sGefKfhGytUatT5ISkL/JL7o5KCs1B0u18D+6hfwr89c3Btjkj3KWCCDBwFZ1w+Tbpfl5lMV9kYrfYrOYRrGtYhSPMEU/Fe3sK7T5KhnOdgFfjZ3g1IqaabPWehS473FtSsWyQNc8dnFQcdP4/qnP/qM2wUHIcXNCax5Wk/WYRBEhz9eN9oNYaosuGCNWhVGox0GcR5VUIgaw70P7R5V1eQRUVhWiwUus7ExaT/pm50QOQgQsxm+OWKP1bIrK29H5u7LutIVS9Lr7qZb7E2+EOuAjZ6EW64hNInRFBQI6qihDs05zo6nhEDb+mQQQKrebVKTwfHCyP6gNqTAO3UvBP7GA0bcrfS4Y9XR6dFHT6lE3NsLscNe5weEos4hNU1OJ2Bg3w+6gTEmtcE/8fb74XllSKi+dOHxhdENtDf6tM1nudSiJmtbrXA82yoebjGKZ+BDrWJcyif9b4XPjMSX+pmHt8wKOI2IlA6NUMGWc6KfcNRI4kQoiYxZjCGYYKtgS0wVUzlg/F4KH5ACNTgRCNLaRqaCmvcZhEt5YQ23qNJ+XcY6bC+aPPRRzoVVzB/Auzh4Boh3+khGIaPQZLWdrYUjJogNuppgCj5cgVmSjsZnhYR++qZA516eNkyB0Y3nrBLQ/Y/WDAwDhe3+UNcur5xiovXR+9JF8nZGIkCNBf8yY9Zo2T1ngeuvTLTI8eCE+NmwMYSSepZDYMinxDmaFXzpeZEMONKzDCcBNSO8Jm9GyIFQKVt1ZFT+RAuySbOIU1yGlJlqvly0xsf2DmxLl/0LcZ5e6V3jqX+/Qc6p12iMJbysrxWgxVukRC8WJ4iE3NMsgE8Jm0HM9/On1KoF24Fu4/5PeL7ap73A/3GAM2upTi9YmPjogzmSR9f7yzfgd8Via/jn7uDzrwI/eJAzBgYjhtjimh7pMJLixclbwKSth/1owZoYXGFqsqAbjmMbx+L3vcxnde1cBhzsV2baUvil0NSG09MF2nhVgVTCI1hk7YGQ/rB5ENgjdHCBn9x2pWz9v7HDK1cXIdMK8zrSuDQBIXGRB+BchAnZxFR1tZHqVhB/NakfzO8BfFbj2kNiYXPnrl+3i51I3Ihe+RtK9NUOz+AP9zjY0CP954SjF9BkSiJo5gD9ekgx/XUT9AUiD/+8HlnM/VEt7DEuZ/RkhOUrFFZkY+MtJOIXccMZoPJx3smJ1b77bl+m48sGi9dceV3ntCrlxjd5qBbPic+S6rJBEalErdkEJ3PhbDEKoCXjcDl7aoXtoeTvsYZo+aA3iJMQPnv8QnXbb/qJZrQ/5Z5GQhhIJ+LH2RPbWHEl5hlGp5nyfE8xpYACWyjgKqc70fTLF9DdP27w4ZcsgXehIS7/Tr9CJUWH86qPi19UD/SPZYEIepibY8oB7haAuhC4GwZFRO1WNP93nizYTNmKjhwF8gVsd7PH9ftlQLkuRf6WMq35l6KkTSkH45jYR43BHuCJVsos2zAZ2jVbcsoCcZj1JVahAPJ/tfB1icyCsPpIhSZuqe8fr/fRkrVTnqAJI7uVDYJl8a3LdzwGhWnfH2ePF3KMRrpDHJYL89FnxNDupq/oizD1hM1l/LK7e7QR24kLZRuSlPI81J9bYNNMx2uc7kUeRMhYLcFCI413k7pq3Wmq0i5iL1p4aeWY+tqpFKKp6D30D+dfBpondn4xZq+RRBK6U0zn9BqLu9fv8JJSQ+wr9DQi8IZZZACo+L67im+c9Bb7mO0gIFvuxjgc4MjAEyGd8NuXHG+8K65dy5U+NSVPQUD9IOUSDXab4lgO8lcWkRs3LlZqQfvLIcGnZy/rkqMnudrd8t5b7GBkHnmwW9UDVCra10AMCOF/RYSsfMewz3nnd/QC9c+TSi4n6M6JwDS5v5/WsS6M/BQSZbGXl4a6dGUAhXFYII1ceLBmWwdSt4IwP+/Cj1J+3e4vHZgofaDe7CwYokZK5fFUcBYW4yRsg4CEBoAwzI3KQF5+BuzTigDdg3vMNq6QeBYho21dO9QgM5KbkQZSBzM8Zb5HFQZ4690fO0NUFXxTkz+EEVA9C67S2rcppISl/VpmLd51OAbB0+KdqqfcTh3k0TTqx/XKFyv0wc2Ect0aAR/UdPWVi5d6z0LMg2xVp3TpirQ9IrDYGTWJcIpQP8MbmRnhvgZ3dJMT7JzCfy2LJIvHNg/x1diqeXo4yaHmZvjFKAIm2ip8DPwwAXrBO/8L5YwGcExn8RnaR7qY1os+vHW/5PD08wVyIaEZp7+56TpJg/qELUg+5lDxWQKuNelMgyGKfojJ1+/yuErvA9HSoaxmbhBAyhqmQ3Ql9y9v2bYn/bK+YUc7yisW1Z5vO6VmYz9vItL8/8eBl/KTCZeqk0s4Mphsjwn/f6LYGKM8eLW9ifgg1L1rZrO+V87/zgTqYnpJZA4Qt9F1pMfqnLFxUImVHUCRegQdU74iXW1kSezNPv3638ZnR992qUGseQyXZKMcCG2f3CAg+QFcLACXfB64g7JzQacsWtzdg7Y17UnVAWcmDQbVMQbpw+upJ1hYba7EpcMuTrpgmvOQtICXxzfVhkhkud+nwLTon4e2RZyao0wDye9ZbtvsdlMSKB2kHygOy5A176RBxNVzM0vOoVgcKiETZaFXpT12GNFq14Pkay79eTo8JWvbJZmPWjyLRpaJMLwhE9N8R23ftPfmu2jhHkktV9B5QJEthd+giP1I5snR4bEC1u6vbGHic37v0mgIvIIPHirq2L6VRAUtI83gW6Y6q+4FUt1zfQV7jGJ8L5dETGx5fFd/7rvXdyc5StjyKTkzTdyIj0Oh2tJRE4bmNuMVOV+WbkF4cB4M5+srx1CV0ZaKCZ1GMtT5Ops9DG9w/5fB/wOnRf/TPsfmaydPNCUqPrqqNsv7Gks1AEMt62CAnE8iYNtQoHwC66JG1Jle0rawOYtjP7N0Ouoj1mVsRrsZcHE8nnO9fNzZulGYytzloelFg9fKWppS+g8uzUnt9iOiBR6sY4GnQdp5ViSP0bHlWl5JpZfWFjP9wUJBL08alkrmt70UrITq3OoKMeDds0L0jGOewJu0fnzm78NSndl7whXX9q2lbJlv0O5fj+IediqRIa+3DAD0jAV/M2i23pl2y+Vy9mhs9VqPXLluV842ycAPC3W93u7s088q7pI9gXAc0IwtjPOXlX5YH0EqsdLpVjw3n2PIrCsM/0EAubpL/0ZNbWS09YppBV+DqGu5feKfGLnMP7qZ9wcPb3xUNU4R7UdQXQU2cO5l7JPizRS4dIj/EJ/6cKJDDdcFReNC979Y0EXH2miF/Y3sLucs46bQDqF/+vZDgLFb/tH1/J/rByTRAAIxH4fqJqhbk/a9RjRz7q8nO40enrLBZ+Rt68RWgwKmi7vavOVfUm/7CgayhyFjolysgSPciE1+Oxq+1J/HFUmqn+WJd7LyToNiUrg9NTZ/vr/XDJKLkSjOAtxF5OS+hJxR3E79W/Oh+Wmpr0rXsJn9IrpIPCe9BX0JGbL+OcixoJ1mm1U9lPt+rN0aiV+f3/CT2VUkffY+br4C7N2wGAV+Cl9+yLtHZV7TvjEqOa0c0khz78qDh+rHSVGbkVuo4ctlXOIUgr6uzDG+pBlHqH2A5D5KY9fImypnTKXWrKM0dcbDz7d4olaWwY7RySgrPz/wjS5BLV9Iq51dZJAijg7xPPxF5FPdDzWx6O69jODCgSC8FNhbhRiwnvlWxGo+OlvqA0ZDy+AFNBuFVvexc+CYeEnuZfQUyM0JMSXB1/ir6OaBcqyD5ygBQNOBiFNCfVl4b0PHxRC3dYaQI99hAUFT/yVv+OKKbhDTE0YcsVhOX0bLS2ATKlHJ6esQGtwgd+Op63Rhn+Wgq4iocivqD8QNYUIhnRgEXDgi65ukTlccLHgSSGSrES4B7vftLeXqz2e1tqFbnH9Xcnl0oxi5ehMs82sHu0+FQFXEyPf1v3dBln1iM2VCiHzleiIb7GmH4cPKhe1a2Ms+38niG5xPQkLcRBVjB+ynbicdGdjdR+lMh8BZvOLJvw1xlfzEUL6vEw7nQfPBerO37zlIuy3F0UBS3MBb6cdNIZ9NFrzwc/IKhoaod1QiWy8XceSd+rzE156SNtImhUw4xpZyO4fCtc8Uu/qMiM7IQZI4p6FEaPMlJIMD5oORVXHEAf5tG8LI1fp35hCDE4vaGavIbJuPn7RzscRGyxe3mYlNvJovrNRBojJJ8vpB9b2yehR2MLBXQt55tM4DeN+md6QsVvNcOGXRW++iX6lJhIeIvGeaq3hEX3Quhl7dHpKNFT9gIdtyQJysHulXTzDhZoDP5djmCkSuBAE3Av76O4drwxsqkLeDaG+fj23LYwiq+i30m+w+Blxl5OTwt450lrW+l3HfvYUyr+jiTi8VtelWS6aJhNgf/U6tJZQ1rI7cEGPzbY6ppGjM9lOaPaynxIz3BiMUmXdJo/K85PM37rXZiu2yz4VtnHS0BTTDMiBewV0phGv5XxhW+dPVGKkrt0UppfwLrJW3gTw1qPP59fEZhqWp2aoKfGl5MIql8lfqIFNl6WV7an40AIU/33u+xya7rmNkBxuJXZUOkUt0QW2/TsKU5CeIJ77Ywa41hn+F89ZXQ2aAtsKLPm0lVlvaSD5430QhStXQegal6B98z3ujjGY3MHAMBy1YMWolNwGkJlgUtEv5r4bZNnB88cBiXGSylXLkq4OUaK5YHqd8yqYvLwYhBJmqaUIWaqHc2z0q/jb9TVbu47fN7oBsK3TZFyGF43b0hH6L4UzrjGEKCfm2AHFpdfiris8x8CiAhrkmqMLpsrhLUwrUwldrfxSEEy6XkOp2PelFXJw2oBX+MIJ386DwumY8TP1HAvWMVLoRhTvoT2qRy0aOtlUuZ0be8TVcAMKDotcj1nEcYb1wk+6RpOYHJbt1zPntSxn4Nmy2IjTUKvChc9scLzUzsfEVDiOCy02I1WFuh+ngoWAuIQLthe6vBxpncVHU7bwBhxlkbZVe+cxC90dcDSJ39hSEQYd+NiZgydLS+LO92Ng8UtYgEPrtNweUN5DGZr3L46tfCSrEQ3cJ85ouXiWF0hD0t9tNk4L32KIEtm08JILLjJGR2NAb6vMgSu73aLGFKvX+d8YJVr6HS7wNTowSD6Rakwe9HuGVVpATKRg/R67lmocyDbGNAmWi8tutaNIJFn/ImrD/6mciU2S6eO56Bq/5o5ptW8EaQepFz13Ai1KUr8A0+z7zjbW2TOZ4vb4nXqLSgbME8nWGA/XZvu2i/3BWaXw19SKrA7w4Cs3xXWQVbKZEF3w4lcwe4MGvvQQf4m37qd5uYu1CD1j7+znqF7XdpRjz0gogxiGDJQfOVpf7D1RfbVVJk66LYIkl0+TkwTHNn3y9HWd3OxyqLXpnQGNrIrSWxbe4JLIDe48923K8xadzDdp3oXgj3SuMuuL6AcxRUPd6Kjr4B/aMlw7iQGPXaLFxcczwpdMhmbQfWg0+E3m+i/Atek62Sw9Vw+XxXtvETNSlTMoRsTpJrtWkPTUiemMS2k7JUNWl0hGq3jDr8iXq7O1JDLTzpbpGN/hMHe8RGoiFimUmvcm2AjYbnAxqnSuPMRNJGic8+x84i/p66YB8BuNMIU6kpbbYj8fLR72FRlRiIYOfZqxiRU/qoK1whdkITQvoPquwi2hTWoNs47TM4x++YdghxT1TsAKKnf2HouLzH9PwpPGGARQpQMeBI1o6R9kGM6btmbPgj6Ais1sUf90Cy59MFd56SAXzZcRjQFctvfO8sTxEY5MwbjWxaHNhqcJcGGUptwaaLXqQ+lcWS2MUtpj/eD60cUBOGbjTikQ+w2YtSwchlUaGLm6pCZvgcueRsCALX99yOG4+NX4FSBerSbMmFIStZBn4sZ/qdWfKtLbPVJtVcj6nThWQl1s4ut7QkY01X7n/rZIqjyrClPOn5TXn6L9yqHWxv8u9vN6UObJCyCwIONQSZddjLXXGrUNQJMugFhpIzx6KMjgKdfZywGDZShqqKCoHFD+WuafiqaaebOitOwRrU1dczqDNfqCBJtnAYnzJMx1DDWHq3X4jq0L9ses4m9yA5F2HrBeGv5gXhpcB9d2f8VGTQPsvcfnhwekGD0+uElVJk/4lH34frg5KNhVTcOC2kliVizimCi9HMKTbKCMc+5/DOfUEafdfKJG2VrLJiX1c/Wmm6CJba2oIbe1SUU6QFdFWJ56i7uFgZQmLoltH/3p6Oq3afkazs7eZEYU4Ucr5OULUprMqfA9qpM9SYceegSSTqKOCdrtEa45pWbeFGZB2vM/bCUZxr0VrmVlfkTxEmR67snlZPgQ7STmExvwxSfDamO55RyhwmEH5fMc0pBNEIfbZjFhKkI/RQ75NCv4IGIlMOmTYTt84Lgw2BjiM03o+GkLnVlFKtzH/cmKC8lQJxfCU+1zR6FN6ZgDL8vBT2pkgYELBXZ4Tu2KMc9XBzR4ISOFi3TxkmsDLSOvusE2THI3F32xkXmvzmba2RLMU9q3HHeADKA/RPtg+GDyJ8RRcomMaUm6i+v0HSuIC5WawZXvm03aykUPuPfWa9HOx5Nqok7mD62rHiFaLeZ0rVkM+chRMpLK5YWkQnOPll9qUCfx7nSLKLd3A0WusrEo2V3FB8kQWY5uHIDz9aFxpX5s46bdpESdFM7oXyAM+zQp8/wIZzRHrglduNlHQQZl/rvXkCToP2APYGqgrdoR6EEBYvTRKAqk7USVvxgxWD3dKWjYH4jXkDRY/FxugcYRb7Z49CSbvjns+9mArHGD+wG+iAC0UuCNOPF9cfzuh+da3rfbnerbJ+YRveBDWIvOzBSl79tIIKXjevjN/hP4BKR3z6x52qwwRXWNJwQboWt85KLyrhz667uZGVN8hrgk9ckhob9yRO58jdSrnLEV17Hyhf+MqSAy7C7YbXBfan26Y91yVqxQEzjUr2pdzSjMabkI89LtTA/MZKoU1xfS8oRzIlWIpyKCjck0+A8vhRvnnw0nxZM9kaEkN6wjoIsEC/ynRsa/Fk7CyXf3XUpLKhedIYvfOENdLUsScuqx4ZXkXRqNP1PfaBVmhjpnlCP0AQ66LmAVryeabtRLXkEnUa1NYceEzQJ3ecFFy+SPuM3y7KOSr+aUC3y/QIjOdEekTiyyMYo08wpe8f+Kv6qDlaiuvV8uVpamJVsh7fqXzrD7HlDUdowFdMt2bf++mvU1qq7KfY+dbervVQV0xaFkHf0A5ExRzuXbzLCJW9i6Q/Kb0V2/Z+JLYQx1f5WhpNIKEJYb+oQNJlKHXKqwDBsry/DXWbG2yK1NsXVt9dsSa2sPOvwTo/6XJ7zbVXxeFL8KuJ2ckdDTOSvTVp28m9FeiWUllbQe1c286wfcPkiyvVMpM2sIJyCb6srzfq/pAPBz53AtTT2Y2MfSZvi6z6ShZtuttmi/CaSyj6mnCVUrVSg52DjHqtcDcGZQufndJWlDQLEwA58eh2zMKemhscslVrGmJgXXdeX657Qw4WcWWovtR+L1h+vuoV0SB4FNwJrlnC5R4MpY2AOCD4CQSnIG8qCtOYKBNVq2InPoAJcQysJ7x6tLfT01fD6p0EMqC9OA92E8HRdgZVnapm/OiX5i1nAvad4zamtWz6TzzV/czvVPBu3w4pRrB4P33oY21omsjDU+9oaroHDeCyf+Kmrs9LZHscHVg+J+ZcQDQkfRAoNBcg2eSPKmnwV+XFnmK3b/JE8ZiyaLzhXw6a4dMlPil2F+Rt9eqewT5gM7KE4D0danE6p5z8wwGEXj+VtkpyyeaFR6MjXKmpsfThhEyu4bfp/6MY3ymTzejNiaR7PvsEq9LLE/JmrsExu/4VhpMeMQgzhiagpPUFIm+m/PRPAjm/AswWgZLnI7i9n2ZxQLyimtSOy9W+o2bq6tP0+0afVbEFaR4KOeBb/KEEJj8Zn9ycXKH5VZC0b//8sKKdz1bnmji/Z1ak2dwQdaxML6LD1rV27BGsr+auyWBSANDNwZPAjOxRGFJEpJ6zrFm/MWywNXD8714/w90zqJ8ahJXQtH8bgDcPIxeAXVEpbUeauCsVAs0VcnYzQmgjH5MUdLH33LLty0p4YDvSHy9l8LwpeNQ2afHMTqJdXoPA2LXL0WBeqMkSE6usV3yu595CA9HKX4QHVu9cijWJIDlSZbNe3SyMDBPAX106MEcaUI1M4qc4ciULTeZC3uuqI9IqE+OdSWE8oWQs9dZeDPIl77UcOnCfNQsvLSKUmzghRtR4j0uNEygvtChFHvZRlDHiBalhWkksUNVlS+4xkQmMwAFxxtWUs4wosL6P0nrQ+X2G1Paf2gWCaWphGqdjoLfqIWp8TIoMEFpEWRXRgH/ehimG9BS9yJOSNrAQgXZEt/RtbRY2UZntBrpHZNR25+5wNEwzFbCi4JKVjYSEA8aCRCFKd8rbrVTvOTEm6GPY+Cs540UIxqbvkBbu6CcQ7ERA+5S0g58zORx3B8BVr/hcShyBK/ZYmDU/25gplMnCq6G2nzqS5JavDDtWzfingZIxWEzKrB/GuGsSkMCkZdyLCoR/roYGcO8Vl749N3Rlc4JRbrqH9W8bWHs5lXYzfjYdamoOFCb+DdysuUyLqPf0HiIoPM3D4uiXnIQqYgjK0TDr79Dz2gygPkqzieAU8U7/CgAj3gOksUnNfjKS/lUYMOBGXQRXxOdcF8nr0CCuKaz3On/XXWFn/PmiZl7r/C8Htw4aHakI7CNqXffX409bMK7Qr7viyW9+aWIrdYt9xfpr1PexsDE39fClivgg/NjrlczfWXHm47JduP1H2bxxpcEhdsnhffEeBdAOqscTaWQkLM+k9PGzLGTqdmTrMB4ExTCyek6702Wow1vJsps/qqldy53b8Flt7dURGZW76mGe+vn/I+T9Msd/xqLqhA9HfLhWD+X/kjQH2pNSmOL9MHhMYAoGebG3kB1I5lCZNC1yLXTkyj8lWi46EV7Ql8geZm+SAfA/Sdp4J+MsSbD7h94lJj7JcsplYCKEEzq225aQfbS0muzmLvs9L2KJI7l/QwclvnZLiAhjdolcP2OIcB3zA7rOdUTaQJMzzxcnLCmJL5Lrr5ONQX3e+YZw3n+6WJrxnbNCOkyoH696UbhsQGo5oN2CfwVnD5ysFI2bV0G6DhHWmYTbzA6C6hUqR/wxjGVkel6OONy6L3fbYlskgVIvfYEeLUP/+pAmhx246pJWt/ty0oPcNVT5h4Z4PT6nwfM+sXsdCWgE5CvEeoDJ58AhBy+2nPTIQTyO/cZiKK90qyL/sBgi53R2sjedDh/SjTkDcbgxGdz6AG6dWSKq79wuN/ZWExUNYojpNDU/1PN69AnICOwJ1MkQBVEOCKuNTbooxnWA1IOZR8wq2V6Z2Xbtq5U2fIaJ/oosdeRDUj4H9drgzQ747ykmc6ZN1xZJDESiywYT7cyFYiW9jx3TqbvPWphGZcjPyaryibYnRPzwv3kKRgeoUW9fjO3kkD116efrx/pBIjn5dUQlDtM4QxomZ2BLMns8h1iKvRlkOgYyzx/NlRGDMim8B43vgVkTH4MxouOSkyCvP6WJpu2V+uhGWE/fTh5er2ojwZv8UOaZa9bBRVTco1BgAVZ88OkSSJ4wzv1vQeJX65XXGmkh4eyXpUnw2shnrg6yi4vJP8odv6MLzqqzeH/hJ9ci2TAYFiN1Ve9TAMcKn3oJpkoWZHcwAnxpIMbGEhwuPaYjwDlC0/PX1y6gIYYQ5TxznezcBgtnwPYUoesb2uczVIW1aUO8hzYTojszGLWefODCzcqwrHIr0KxVBi2baRG+OGMDJpGC0wE7UzZgU0BJ0EBN6aH2XR5Jhu6HOEBiJLH3usJjEOpAejjCByzSXOUf5QpZh7bIhsbqsEg5488I3bwVyHete2ZoaOdii8flKuPq0eC76krLOaFAjyXi5uLTumrpjoo3jSHtyZ2dEdu6ulSwPhrQStHiMAcaaf381iUZPR1bhboii64Vojj/QLK7qB/v9tGAqGogli8oVdzXWl+hjsymt747k2XlGRFcyScTVdpWhpJJu/86yR7iKgXUpvrA9N+bTRV8hTugbJGmDwqtOcwt29q1XZNEZqPtaEFt9seF6gyzRBe4nWqgSTTVSwanUioj5NNwQAS3TX28Zwqs+ZVjwLOHyNF0RNz94u51Jo3uiGzcI7KRDf1FMzYmpER4h0EHRvLHQ65uI7dKCfXLbyO4y1C9ss3XeG/xr7LDTi6+6xTa3RcANDeqaClLB2pQ7FhP60l2lnzmr7f5avE+c1jVRb6i4SXaaUVVLYBgR5T74ZjEJVFyTruW4kbH+UkrS1P01etLoroQgMH3Aeeviq64mgOPU6kNKGBm24PJXdQeqMMjN51vvG9h8tHCcz9+f0Kq43kTR3lpxm3+HZ0IeqsXSgpfmta0ihBeZy9DJ1oXDV5ChEqRvmYGatKf63HEYfTnt9cNPV7xX5T1u2k+xtrDY82y0u1JQUVyMs4W0sqti0gUUlNdvWxvU7kQGi9RSlfx+tzJHIPVBlG5oSl1Osx41gquSvrYrluBkFZHnhLWONlmHl3TP+SfCsSXymVHLlXu4movKTc2c/c0P2zxD6NH0K3ysNqulOOPOBgmFxov01a8+jH27vRF2MZ/oXNGtcI6/WjGlk7LK6QL6QxUDwW35q94+ItF8P+Ujy2DQmTqSuoHgOC29pQE2lFWxK3Wlf1FBWJyV4Lh43pPg8qb8lOf+f4Qsz8xJTq1x2vE4mwiC7FbpGtdsOMzkt4DoFJmPCctYIgbCLlFX79kb/UID1DZTEWDBOinSwosGdcoFIc07ORNhcLRN1qdaiWPU71NMTYkY/IO0BzruYXO2a83s5exvOpGZW5ICwa95l6IDRz9Y6MJDgqGVWiOOLSh8uDOK2Ia8sM1vTtyb4ric18KBC9Nmsmz7xdMNQsbLA4HrOsQoqU2JePRJTKad06zSco7nJKHkVCiX1pAhun9BkqWvBXBcX3yMDyFdvF3ig4aBaWa3axYfJVCK3f0lrKbn9JaoPqQEKI48uQ7IsWHZftm+zbvKHbQ8Ee6YHYBKtHItO3RUHnmjikP88nybJYE84UALbHOKkOXwIoIqhrY2LQDdX9xxEBfA21TPG+JV3Af368fK0curtur/VSnQfkXV73dvcmwL+Nj9UOaFkaNaFbeZ4WFnPyk79d0K7l8q3zUBbIn1x7Pl4flex+LlmKYLrpYLbzciWmzeU3Eo9OuJGFnb20WZXH+oVTYTdyipHyymLiwlWRbGOoVIIqAKw+VNvAQX6ugON1EP8czWpTLMCQvfGR1/HHDm+aK3f5vLqKzqb3JKs2tc03OyXTjJyAgg3liT59PucJBvD/YifuTFz2h9Sre3aY79XJCKYzfRtJbh7LHkQ0KjvNHxAdfaB42Bm4nsHB57pYK5LIZryKL3JIa9sSfbpzfAqdJxlHxapuQn0yws2K1cGWwH4ZMA5Ld8dnoXnUEMjy+IQTuusPiivTom6pFpkAb45I+LhCgTfmuxRuBFbUHIxisRrJPmdJegR0RJDeWUHG/GdCouOWlqYxxuor7swnvWIZfRb4cMA2irn2kj0Cxr8gR2CbLHttCY9MjsNlfSD/iQgMZPcAMrGjY/TxkPbCYOqIoBKBJEe9teeiQtBu5DPEG6Ei4p93Ujw7/bbIALOKq30L6e2rlSxyISZeX3Fkr3EDnsJA3PUJsDm0jY6GnlKpnbPJItoDWfcu+Mu43j1SusHXin/PxzlCMOAA+OlInwJliz1r93e5dDl/x72p+Y8Mku8GuaHH1oM4o4v7puufY5frOtW2vrgxFpMw+XNIzEe4b05aQl/qe4fNL/kdjCZPFC2UTM5+7j11UVU/LxX9wsqScO/IT/c7VQot7hKXtmk76kfmUdjV3KzJNw2qq2tpPt47FE3ZdMh/lPYugIKzw+tPRU7vKJmhP7HaxPKUIz5Rq+628auLEA2yKMgPYk3ZgROsNy8/BqE6uQLeO0c1bzKkvHCqrlLuprUGMVay2TR08WV9m47sK7sXDZqI03Cte4rhMHkHwaSOqp0gXzEJ819Imggdq9Wgc3ZnP1y1SLavSHBIAdxjFOktS88XFbz5prRHYauYmQo8DSHjNpN9japxC+7bFFWO5wFFs8Rdc6jeVhLEAmOtlRiS3qAYWyGYnOXJ5C99Wpu2BzU3wmCwThZ922ri+P38ChlAyrEZx0x0lGrENwYauHJEH4JTiHVJawqKzt3LgJvskNWlURbloO7qV+1RGFx054rCf++CFZvZzWgd0oOQ+EKpgrc/0wpusMlm+3KYCom+bWHTM+WhItpHU0KcEtubuxwfee10IcSRTt5jusyBR+8Cljwmqa5g8+lQiUL+xx+4eiDMJ+32CCRhD5g6VFUEh4+VBCphszL5r9czmii6vvvrBkJ8Gmwi6VSDs6H+o1GdeSllbuxTtfEp+KCYL4v/HDGxNSgg6PoNiikbvABnel3W9r8NwveR4LhGFkiQOQ07ouU++3R/5Myo8uzURSReIBi20Du9AMmGtv19766oyrrjppoGaQAkwammdRObur7MjM8muKETBFvmNHvaYWpmsOHkkqnG1CyLjlush4fZ0YRJKrqHDzmzaCBsWMeZ4nhORY4dMaYChSozmBt9oFVYGCVp1v5LZzEd2u7cofMOCAm4O6ezxukNkN+dTgTj9cWOo8Be5etCaxJts10cDoZPErMg9Lc0Kacam/7Mtr7RCaPK/pG+kp+L009RpYVgVUjmol3XIInsnkbBn9qpuE6pGAuz/AjGIoHi5EJBb1CYy5/TbCaAsVcB05QKdquc4fLuBt1ulS4nvQbT90N2OlYrXZkg270OvpWQapHA0OmAZi3C64i6Coq0bmLlf7bZ+kefouVx1/VwTElhWtL4iEGTprB0qm0DJfFlSMulbw1isItbjvAOy2isdlzu/DdILaNIDEJAtreN4MFMjUSsfOj6VY7HQMBmUAMl4ZzrNZF4jJ/i4of9yKLbChh31H9CZAiDRQnnDC9Lt2C0e4cuFBKI9TQG6ovPIJMdDPMEE9O3uhDSNZGfFyYIdVYGNbbaCQUUdhNQYfDkbR5oMjUqL1hTtsc2/gahiGiFt4aNnZKEovqdbY/3h3xYj5D3uakHqsiolZLC7KfmvXEw3nVZN2o4lAQNYcOZXVm5ah9QBQtWKBGqNDlJ002H1XiemUz/zIRJn5e7HEvv9AGGjOVEYiDt/2V0mTHMG84fb6Lzci11oP5devKUguPrLElNnW9jkAxdkcV4dIrHaYnOUXfmEHTuaX61IDqyiUXnsQYqU9k21ClUWNa5kjci1Ga7+fswvQR8cpinGo+yeac0gtuwb/mPsgjDUUR4qKxWfN69N6p4873J/DtwJuAy2PPJdxczqdvb6cUlB5JGaTGVpIeTyGts2sT4h3kpe5cegjf+sMcrJY1vXhQNqPna2fTYcWf6jiFPVyhIM8ra9I5B9EEF2jPjLkclGtmXtAKIWCBf9KEdUnLVxGVBTiwsn/2uGC/Wyg6PfBDquvbx0Cpdru0d3bKxp54E3BWpACz926xL8oWJLQ82dRg5ioEYLs189RLjMmfLN4JtLIHeKa7XHZ9AdkzbHTGBlcU6Zl9fruGrbq7R6mtie3s2kjL0Thpyb9QztvbWXVNRPvqKi4fShQlhtY9Mo3Hbbk9CVEyyPfYrPB+iOe+peaFKOQMPusCqe4k9j/ufUNaFdW/H2oRyouQBXPFZo8m0NYbhkOON1p4nIL+jR0VuAVk23TaZvB52w+xMIDgRAmEncAKv1rVwlSaNjg3RXP7a6nK7n9CTb4oAOwmuNZyV/DYhGxbLDfkIqNLK9ISpEBGfZdt3GjnvvjT0/gwC3f8Y4EhujO8l+U4cnQeA+6kjm0vdft9BOA68X/9ZQKiE6KAcafJOzzGOUrwe41jFbt2H/j9O5jicRz91RgfvEXTVH/zDnsIK0992GzzKw6+oYpM+wVGkD89RO0PkLzKPsq73gcTXK1DKMj2hrHd1/hOcMPTt6Ub3OPKq4OuKIi2Yia1Qiae1jt7Qu1RqCGRV/OIezjlHrdOU3MpU8j7p6VWZdBMQpiCeu4+Fjj4v5UwUS9vyjuCxCCP9GGDLuqichXdcptyRgJaHf8/QuXKxl8Tv+hiUalTjvZ6rLmfxcAlRZoID3x87M67n4Qh6G6DIuQrEPUDP7bX3wecrqH1CTuB9KZKe9f5Ha7/hJSrbP+eoSaNijUwmhL9KmBnFM7b6T1e1gdWTCDg2kK3L6Waq4b+olj+40lRYdV+DMxYnG6OlljTCDSbWdhYjZU7kQx1YZOSf1ls6TrpyroOPZyYeQk6Ucdgx1XXw0oVi8v3HVhsq+ko4tsO1pcylPAOnvGbRkNwHdtiXMVKgsb/Cj8LSpN9034ex1UPh+43rGrjPCrp8cEVV/qU7z2Po75V01g4BiYTOXuH1u4tAdVgJlRJ46AFF+MjG8cX0LqUIa3ckbdeqihBoc+jX11JlnbmHUebYkoP5Pdg0GHxtQWNBZfINnT8IkSZeFUMkB40OPwBHVCNhN+ZuAmtF+WKNHzcgcYFFnng2Si1DzlQJGRiNP+rRaCOOixLsaH4ERdNKZtIGD3BAB4iitiAuGOzqCceVMWcVkSvSgDgWkzhj3bFxNzRytoIqBNjGxLm/sljoppQs0QwvdGL3pfxKv4TItYmhEjkOKl+F/15qJ0NjkzqdBrj/WgsY4gEyHYTeD+SudMX58yeo3N9KZEnuYYDYBL+lcnGZaHsTyxf+SAH6GQLfbSE3Yd3pyDu+kgrAjWYdWtD7RdLxbNKF3U9uyraSjO6QwqGUtWAoTe2gn2TYjZucCMjN7j9OZVZpu77tYqWNJPaypGuwqLtkJvy+dNCCDW+dmESeP50Bcig9F6dLKWCWvqy0iikyju0hvetNYSN/duK7C2SjtTuaf5KdPXTwmZYr2HxipmzCeZ07uo34iFPXwTY8E/xhDBJav4ZPIb3d9Vy2KN0xSpCgZ5jRfA6N/RnQ3PrAa4nOE3ojL2IafglLyr2Y5PefRgE5bSKGHf6Z5qwUX0yw6YMqer3lbNu9r1Pc8vWg+ajkBkuyfBg3uJ08Myu7EnZ++uUPF5+cNDAKLANC98P8HDZf61ZV7SCsKbk7rXnXZ/cv+nSUzaJLjQON4Vxf+3rhN2szffUJVAYvqvR4Ct2K+IlEJ+VWHcOgjW0XBK2R/LPaI36/P9CXt6edC8VWB7t5YwKnIhV6U0YU8Cy1FbeYn8jhbdKvLHqKLHOJqe2luUz/0XIE5nhlFBgLXvorye7XB0KeRdta1T0fyNSsvfTt8ks1XHzcOvtnmsrFz5Fdvmnt71uUJcud/1W/Jb68h3tVej2E1YxyIX3g7Eo0Ku+LalXi0NKGHMMBCXkbQrC2QqYqg98HM7eyZReAgHyGkWNqKpVzu0WFvpRhIExISbxKs88yqY4p1Uy9PEdCe4c4cwigm2rpl8DfyujszVZU0J4LAA+PbsQ6uT3dV8llHuyQ0QPQm4gsoLwxAwi+xhzDnwxDMaKPVX/vODAuhnHs9tSoCgUlLSXmhR1O7mX6Rx8xuu0ahpbabE5JwU4msqQ0nd2HRaMaUyfMdu57AJGCO42cDM9VpZxbSFrAfbEjXzKqqot6aZlwzYpEAveLwdoYmx293pLutcfCPm9bQwanXjjY8zSjZWHPs18mCHuyQj09Aup+LYOJEPn3TZqTFjdVUN9aiuXIX2ZpaFdod9jhNUHYCgr1V8OSMMCD2PRYVLca7DbdfibS3ekZG9hX+WF5Mzpwp2AoFkGBdp5+LhL+2UcA/CTJ9G71KqnPY0TEgzUqn1hbK0uQ1JlduYLYAaKICqMNkFtUv4FIEeNjvtc7+CRy7/TWf7ldHThJ1ZrHX4jTDD+BNFjd88iXFILwQreHb+HNa7hv9vJ8SCVLRJWNn2rAiq6sTqc6vMOxDIWng6JTTgpGlzxd6GKfz1OXCrvklWHENUzsnFLWrfgjJc1qIrNZUD6+jHtviz7G6rT7kU4jyx0Z+UV4xoESufb41/89aDuy0fvd9JkHhThlnw8M6Ja2fMSSBpKYNgD9LsIdCCndOA1KlGunM6PTs4jzqgjo44dkHTc34m825rZVSxn5F4MKFLLz5Lo2Kraz+RD4pe8GAlpCxo6PSdVVFrN5UMPyis2D9WUny4w9ZhnPj9C9Cw3sJXu03AhX4V43FsI2R7BwLXml/NlQuZC8s56i/3TkVoTN9azobvoeY189Aqz2ZsMLnARpo3TBet807gsqL9mL03BFCZPOcxFilDTnqwDsHt5V7toGCvl4afsxWLnvqY37RK9gUiWWpRlUT+1rfhwPslq0pV40ID+zBm14wQWsfwy9dCUm7QkoT16nDk/xNVJVPrqzfIe4J85MegLN06S5eJ0ZqyLoDDCKRu1iAOuDq+e2/cZ5rZFn0zC1iK6p+8lG7J4+usX9znSh6eYK76BOB1LLqVKFr8cFj6J94hjdoGG9mwdBUHTalC4ERkY5m0WftPpZLnKIhowWFgUtWwyZlLZWhOQ5H9qGi0Vd7PaZfo/OnjF9WNnehck5q/qf9G5VD/4QV10N5jVh94ynL2s/ul37jiXDpFrBxKHMR2ERrNLFww2gIZ47mTRW+exk718mCENInXFD2MMhK6h8W6yCBnUK1UDEicGUjS/+zem5oiokuETrohOQwsa2hXK87LZwBkVT0BZzb+xDP8hi1qZlbj9xuAfFoA7oTecVUyHiV058tAYakpPlW7ce7uRCxNqDVNpb6jf2dM29Z8nuMhZV7jNZON5FnGpCMUwYrLFagm8G0rVnJtAR2UL4nyzKdD8cHo86GewVmTGwk9hcvrCFAZ0NejQC9tzTJU0fS57TWEo8KaE4eNZhaAJJeO1aWsBMOGlhdTMZvnJ+29EQQJtCUBr4tR7Ha72figYpeIXeBQeoB5HB4ZAvgIILBs2BLCF48Q95bpaHfN/6zFWaIMjV2+sEwmOWUf4e2wfye5B0AeYppjZhxPkk1qn9pQ/jAhjSixKXI//GNI3d0GptrmISZu7vOKvPZa3zqRzt7+2SYwulXVhYIWK6AEkSwOILJt/9jt3WKXDd5LPBshE4vYxVTCjqMJxv7D9TttorkljomTR247/AoDH3Ll3SCtC0UU0phxP+I4I02u7bBjzHziuPIWrne4bw0yzrVnUizWBA9mdrjUOfGksZBHAHxLLBpYNSvYD7JVH6WD/nqh2T0H/IjXIlg+Vqt0r7MbEYnllLr2zE1qpQAKiyOBwv7LX4tjwY0EfYgY0u9SC39cKdfP0e73jjl8rpLu8TMOJt7IBmEqdAHpCWaY5mk6zIn6JmwmZ3WHRmJ+sJqa7bLGGDfFVw7m4Kr/vvcvEc5a6H/lZ44LzW8aOXU3O2zCKuzU7rIx6S+UnzmzB5VV+yrpcRGxPd8rzRB1qO+ymTBMIOVN/BPGjqVz38Su9c4aK2MPDOaNmGoGCt7g96/AozqI6BiJ/NVoFYhnMUr9hlrGjqgXl4RPAgoTOZHPoXVxTzj5rx8yiqJWnkZlat1NwqoPQLknomaFgYAz/aB6f5e7NfBpzY0cFMyi8OSOPa+vYFZtipMpDziFjB2C+cxG8f3b85AQ8ed1uO+/raWwutx/zxq2kKlUdpN0FOxa3ippMxQXM5wHW4TTZEKdAML3CbP6QgMhEBOxkxGWWG9wHMq87/ZJzkZyGttPbVuylIol1C3NNBeADyVeaUd/7bkUsTiF4yiaymlgrvfBNSle2TrQIppMzz6vc1EOM96IsBZOsK6cJahKc5aDPq8eowfIx8ErARCgcU7IStU/wqsRCw21m+hlgz//2h8886LGC6rgDrwW8SYqDbMEDLTWm5lTniSbixQHIBV3FYON694iQN5p3VPn0btSMNmLG5xiVF+wHZm1tpLVr1nvcXglh+84L24EIDmoJPmcN3Gju2W8WuMUiy3OO0lG2q4DBxDGWGr0dRm0jMCNlCwCEneqz2zGkXrGT7RRKI5Q2NMD40dCLVFEcO0/iXKcNzEKOMc/P6xJEaFOncRNhyDqFxmsa3Ffbnoinbu5CTXbr8+luew7z4JCaFi/q22VH4fUOiTF4wVagjX7QLUO1AlDrQm6Xu62o9MuWoCgrFndTzVgUsPsj8vqlzyepGzUo7Rlwlt9jL+sxbmXFHgVu+QCXATGQYw/LkfEzAnTSfPw2294jK5GpMs04W7EQ+k9kDpXt249ab1XOKKcZcxc+l+OWLPCgNjoFMZ4oOfmtvu5kDQ0b1ko9WUC/0ugDAbqU3CY61a2D6OGxPbyV8l45VY2C8CXYwEywX1gHaSAt+/Q0ok9Gmue+ti71QU8cXYcStu211YJcGVxz7c8ZzHhnXiXnTTM4l/kmgCTJA9ItEjMPEGeBi+mt9K5QgKWzLI2iLnAXs96/9z2Biwf7y5xL6N/GHKeBZLXLQrq+CyTX7Lfu81Mfu02s9j/ycLFvcPMGOIapGceOCAeEpftcjMfADDO1XvpHaWIf7dnpBMeuOgcb/vA/+8Nbx9tgUqkpD3nzj8J598fIFoKIY+7nyHwDx6WSV1a3E94QND43pdD0SOh7ZKIF1w/hEgVOAJo/K2yyYyiX5m37LckJ3db3NX4Ui0CUOdSwwR2JQtmbSvbGIjeIxTiZ+puBpqTmTGm4VCM35ETNKw0+ybo7bJPbrpWByH8ZDgtQ10N2mif1Zonzb8dm1LIfD8Bu5Dv0gZemoGB7T2AzZBR/uF6/UQ6uEeROOVes5HzeN1AH6ph2tj9dzQaxFX8tK67UtxZzjoBxfCAAv6++po9jQq6Y7vl/aQEi6d/D33MdAEhNqyC5C8NLFa1wj5DA+DvHMfuSiNBcqavrqd/K/X9ovb7oELNLvuV30E9Z0GZ4LVtmNmDRm8KW2fRBOpV1Usqjtn+igT9AUYvbJSLmbXNu7wUuvOOgadplyZo9CLuTDRR0oDa99ZqgO+fBTykgAYbmF4+K+wqaXUlFngmnii2SqKLGIL3duRUxVT/ZAlWmi4AuDtGmwYqr4So9GYLNZw+DdTcNIt5UBpQPfmwqCt9nWxd+lDd5x6V4RPSi9IjSXF4pdm/cLCbT4R5xzT6zXVESq2ObFUwCG99fYfoTIBZZapFnqEfwL95c7icN4qurV4zZG42LcmQwe2lKBB76dHYS9K5SsHpEEU+eQW9rqNj0BPOmfiHG7gmnQ3iKg2dijfUE1Us9gu7qS47LHkEtyY6zWsaOQr+tuTQ5cCFtAoZ9zzAWEGFd910dfDGmvTJf9oCBOCNpC6qdtFEPc8UAVYAmaBn85zwNgxDPAEy6LMLsxvWmG7beIDNZ+YWzOJpkpybZa00Jmcn73bW2AmzVbKO2278JDf5wBmOuscJhNh40Nhl6F7qtI7D37qp8OkNVEOlfUwgVs3X0XgpVygjelUCvb9opiA6spzjSKeRmQ7VQjJ1/iU5EiPyIRijNs7ZlhayYkBInjz0S8cdFI2dgYSkBo0rjBMuEcv5ibIFFA3zvFOka3JPTaEjzTFLL2eWthzI/L8ZV15DBetKN+Due5tiYCimu1rwqzjsD+TN4Dq5NOTOr9pT8KebwW+/q72LARhAB1R4ng3Q5of+oPR+WbuL+zwXFE5quaKWqbfvZvCP3br8ni5vVsMk3hD2wD1FUI9KNwr9K4YL5OQc0DvBqSFFoyKDNbP6DkIgnRXI2DlPV2qEkj1UdsrZHzzFNJY05aFXtURLD1l+Ye36WqNC4rGSaliYyad8PnGQ7hIWPwtNbmpWsux8NnspSu+pAJF3vvYo2Yszj9Mcsb1DOhkYWgisWJQBPSL/KWKpXGIN2soand+MEql1XMIEtM1vyR36Ladiy/fD2/4R6C2pq+P0y+6zHn5eGgQ22fQ1vXck5+AHhdWCk+l0x+a3AZN7/jrODUOFV3ZA9jDKCRdQNv4xoGXBI5hNr1JXKpYaL9MVvGYu3ll44PNpsLAM5M7mZJM3sSHQL7eJCYif9plIhkntOvtIuQg8Iu5/E6Q3+Si64Wos6U+mxpEjDsd9CMPcLPsMlYjYuI3TIXzqQlC9gfoznMMS0XzNigU1tm4JfeP4EUNVtFgnoO8fAaUAbNg9SDOPoBQko9Y6BcvbTV6tC0dVaqZJA1Ob88M71SdM59D+M3UaL5gJ4kq+3qWjHLZhZLM9dtgVHeOou2tr0jnLC5mCeRws/wUJpaYxtUgygQoLHgqhE22poF3NHZYEALvCg7qaeqk0JQTmFTFsgFRgmeXDqRKjupVluuFszpHY98Q+0DJ84BSTtHWvi6f+vRiFC5ppDVDVQ03vNpan9Ku39Vd7BmQ+NZqX4ADfZUo+2311yygdJ2XVZReKQPwXNNoH3SgngXd+zh+82BhAUfo0LpSa6HkAwNwBmFk+43o/+kCj+L1C05XRolmD0EdcCUg0Q1LgHa07Xm5MEtF5KyQWb6qspkDmk45BAUL3HHNQyi8FAb2ClOIxzY2hW9IUxrbeuHlMwZ7ozC1WIBPA2it0OvJd928jGLMeg+cN8w/dzLfXP4CrxKAy7V1l2sHffJCJy2GAciBDecay3EbO44e8XGjj6M0jphfQ3I6f9sp7lqLw24d6JyP3+6UM+OXjWuYNsWku5H6AjnTGQtueKYwSbwzefKJi8trm/Faprh2ri+l3Kg1QvjngAXWNBvr1eIlvKyP3NInQpWOD7B2UMHnuYSZoB/8XL94UBtwG03VEmtmIennTBE+7DHxQGFiJ0fkQbkd+W+TF8O8NI1S3fqIvAYHLMez0fZpVmAFKwLIU9yPQ3zMCUEnJ2KjQd7zEV+rR+ImrNoJT1AGM14pXKpjqzwiyCXu9NkCN/dap0oREn848fvWrBw1Ur5qgfa33cgLqfy71HE2MLtirMDipiYbcGVOvWJhvV1aq9WkiK9HE0tdpMa1gblwgUcOd1MY7XTgkKWUX6nS2agCz+4BgUqp1mSsqhjEg3yG357qL5VlqYmCcNSmfeynGNY9kCHD5/B+WQrsXtSbxSs5XuFHlicg2AHdveXZnmYEmK1hJFt5or12iH559rQ8IOVjxhs2mwslvVYpvE5ZAgsyOCgMlsk0KGhacIRHeSJTF7gm/MQR5DI/H7qZBduIDTpxZnjzDZq6xXWBFIMLqnCnrXqd56arsvK5uFDItssqOY4y9/9RXrjyyBBRpn1We4jaicbtjmmFCoG5YrWkEmd6sM1VohmtsuE97YYZpiRZXd2tJRgSMAlsuZUBVT/kZr0a1AHajgbNh/9pHjE+IwRZw8aX/hbPkY2aRX2/lrV2b7wei4oBcgw1Ctzd5yjxyqLIIK3/TldrLR8/SLKdF5JxjrLp+kijpybccC5UG3lRvdRLUeKKBexE64v3Qyd4uHgTQI5GLRqW6DP7J/gipiwXOPtVvNcnLGFK8gNokov73TWoy8BMl8ZEkXTqjzcGSPYILiVIZ+a4yHDPkaO+RiwDUoLIsaI9OFRxGtNpTO0GgY46/8kxQOUVGlee+f1/zdJ/ttwtcq3HRoJGJMmzFWwQSSo2cfeAZMy3ta/FxX0zBvBFUVuthh7m4gt++BI2K912BBMaxRKCReJB7+aoCwMBY09JWtwH5iz6hY+jgRYOHm6k1OwDB9Kg8iwBkJuZtmHwrbzhf+Ph4qtsr2n4A4RQtEzYPyHfv1ggAiilGZI5Nc8xazK4tX8VzV1Hk/uZzzjFUlVz7AqREqaqQHs5fSZpHkfePdZxwShBqw533odNPDgKpAS3vQ2uA6oGNr+lU9Gtczcm136SsF9giqxjhfT8CDaOR38uZw9jsMwlWxsvBiGxS1I4uw+XVNz7WxWcTtb/HCtYXIERqBIPnlUiZNM0V4kkIt1Lw9DBi5sUQ1jD4qkgkFN0KznzxGe5PPSj5ZuIXBnBSoqGuoGFMsGmZmBgdPNn748a4QvjgsC8UEgVS8pqO1Gbzt9z4kMXR0Wr3wlTvT5sZ93EZPuokCi8sk6MM1DVqrHRrnhmfPS/cvYV1TkwHj3IvSmAsc++IJaGQDMP+qPHURxjfGaLpaT3mj4jajE6LZlgJFX6EXUG0iae1NAGpZBAu7AX1knnodyimsbmdFQMIma87Qfvm+NJ8owMwHJ1ZNvPqfjfAV1OFuJ7cBbO+VRXSaphV//3WucM3Ir2xg3AmDjJ0tu59lhKX9Xe2wBM9/wp4K9zBYJ7z6XQ+Aw3yrojCFrcRzDzqthgvZThxOk/4LJBEJvavMuCLMUo5s2X+eyZNYH94JCklvSDG88JZVdA+JBVbYzEfp/MXs97GeomKEbUEiwxKn/mH49ayzol5ns1k5t8xSgJZxHTcYJDe0SaAygeeh6JGFOugZG9OoJ8JzsyKKCy7I1ZI6PELOQHoiBkLUQg2CcGJXJsA7yDyALLbF6lK9fQTVqbxsYIZ4W6VNV4Z87n/7O2yC9QHFLPXPL/rUTCDIxT3SlslN/5TwdSM7BDLPwwoyN+hjM5+6zuxD0n5FwQfY0KtXJ4LpIkBMfzsud5JIxV7LHrt7zNs81GLYNHgqZ+lDqYG2Gafzehii27vipCdbzn4Wrc6tLNCWx5Ih/dAM2ADcgVYI+j6LKPkc/omaORmXRIo8kgWFg1dWpofgdyMaS0Ct7dPzBLRSGY5HENvTGyQstSOfDHsmS3Us79N0LRBpaIByk0dsc9mzjgW9c3A7whqm4LJ2C1j+lABunx98jes+Hpv0yzaAiUHlzVWTQLcriAx23M90PpneHUlZPTltBTum12oQA/apTsvbcjHmL0tarZL6qqPTh9ks3/60VLXNqR1k9fhMSWWZ2c1apfNsXYGsEym/kumURTrVcLFkOTX65J63ckJsg2m2qbRVkW8shX8p7zUgv5GK4h73lNvwWXW0HlJgBAuQV4QE6yWJqXMlQGxctprHmJ1017d6PLqDZXI5K1S+I7ENwqPkU9wYYylMeZzFsTUYBlQPhq9JvGqIZ0vtGlpOOTuMTzwkXJ+3bA4ZNvR/XVvv823zdSsLy1A3G8tTNjuLUsYc2uL/vt7djIjEbn67xkNIk+oprOJPVM7ZsmXzq6udMehL461Jxn26wsu6afRQudWKwY2zyOAPy+Sfu6JVw5HJzQ8WibePa3UFGQTp6MW9bceKvuH+x2MobucWCtX3mMck25glKb6rwJtebAML5MYBgNmtIPRQJl/7J4iILumTqDF9vXraZzOQhG592wENQ6FgHtqIjZJO96N7SDE0gcmHLJl/09q9pZXoL9G353CsVTQKm3kCHvyAA2Q78hco9va9Za4bLtwmnDHXuFL9rwkJgDLUTh9dryHBEoPYbHLds924X2+j0f2cZg3QRa3IN6Vcg52dR4lP9+77cDKgfnrKW5YzxpAT9lv0C/HrLBskJofpn5yt9UVxSDy/5DgTwjdCZGMCZoUhL4A34Xa3mlqxqjKTyZG3y72+2+hw0xRVF0+yFD76ctOl65u3vDuRbMZo2MIwHZCDBuUzKpPECWR6ZL7hgRPtkNR7XHBwg9AAFw1KOgygcvRN5Opri2OJKADY0pc+pe3fA6GYJDBH4EG89yk4gmS1vpDIZM9NFaxwjQ6r/+Pbe80sc2HDPk0Rau5gqHJd0zLqo8H+bERmNTQR+W4Ja+pkG7QU0iV8n/Ckg13eqnV8ZvGGMpN3Ziwi5omzQqU8XXJevQjOxjMfC/MkEW3sQb25Md6ZU4NcU0RDjHz0jwcer1+OWP2GlZ5SJ5R8BQBG19tiFwYgkC3G9lSaaYnyofbvYv3UTC0YfhNBUmQF4P8L7soiXWD9ACp7xfZo9q05NtmJMT4yUM0DMBGb8bdrZKE/vxhki5asNzFVd1sqJyjwprY1KNERVc74kNr6Xh4fLe7Df9GXPJZPGMxcvngocViO1xp3rrZ4ljT1/PBVGvdJHGyUqUY75B3oGtcXkNIW52Qp2qcFBCgQrIXI6J3JlnVXEXcyKsWuTZs1W4hHRKoJHGOueIN00U2kZ8OA0ioZPagNfEx34oqoYh0hBqJN1JhW8Pa8efFTcIWlOoNCbe3UeMOvqoCsfEU4gpkvBjNOmpNJxpPpKhIn6DxasskWjsdC0fVFu8Uh8nulQFK3h7Nb46+Si/9fX4DZAvuSH9aC30+bD+beNwDXyyeVKKdJMgifiaaHvJOyLVPeDd2ZeawldUwrdl+v6ebdSaHnjCKkX5Kt5dHhnv4V5yKnxmGE+bDgGJFdsPDDxEv2+ZZ3ZoQZtz3RDpx5Ag8UgXkqaOae2rrPCDDWvabbXO5D3dyBUh+19SKfT9iIDCQX0rTi7GFfE+9C6vpbDNdw3AzUk9OCBYLyYJ4UMX7NjUQJkohC62TiUd+zE132soc5dDUtL42GGOG0wOOYyS2gnhFnWTMDcLcu+uPk/uIRyyILiivR4JMO92FsbBm28CvECjD1njgEJNUzjEOikkfcnm5XG6npmwwbRwE0JpQzBnYRq5mH4U9AurjYrCe97dO76yVQlcak0dxqSfPRAiCMSbp2RlhdhpBOl6Hb/Dey+8cacNFfA4wXhJQniTI0fQyaOko05AgwbMsiUUHHPnHu6dQ7lJ9JEOpVcEILEAbe5xbHTpOxkLb1k05iri2+Xv3zQEvBYE/KYKtzpTkTKKqtQq7g7o52/f1KX4+lymhl8qlWgRI1NAyuxq6TquW8Lwxnfwu1ngWh2LW/Ad8AE7lGyc2xBuMFR/USr/jaX+sLS2nGrIVhQEzB0zfppl0WGvigpWTaAhI/d/ELYaJWKRrd65NeXEkl9fLLCtHBALAVPmGvlt1pmLvj9gdNgH1dxnt3+ZFYeDbavJboW4HZ4FXxDmJWAea3aTvKw9kpyBUBeKvOoEHQFGGUmo0VERFsn4iDOKBDJpXS8ZJK+rLaghuMjFYO38B5SgFjELmw/eLjceiRN568p84BaYtroKv9ty919YY5dqHSMI8gjncKogiVPtoZP+x6IhF16BZ7UbcVlNwK0SXg5+CCs92GtBxcLb9pSKRI7WxTBGsDSN8OhGApGunW6zGWm3AXUvb9xJrhkMEbNAzOL/2rJfk73xQAi1NsEDHfEQw54l8KYFXTtuMhrJuAR81XNGeO75cWC4jU2i2Qxa3jwAlIvgq4LFdahOIrrrHRhRTJPJEokizsJAIKGD7ZF2V8Ro0X3ie+kLWUrz/vRfix/HNEdZ8OlIRY+n0kQmlHQxvQWVzTdIT1NyXy0x7C1Llwy7AOx8FWSk1tX7aynbnlskgZfzR4BXXN6vR+87+dx2RMH5GdgttRTJ/1tNIhmEuh7MB1Jhfi5Qoe7I4FXKs7xMwLP2hHV10AJ9jG4UWKTSlEnDAcYt29epxip+FfzTGLaJTEbRE4/0/pq3LMIVKcPOTLe70HcVGFjEaD4xe+WW+G46vVX20ry/JrN67F9k6svtJXbbXgG86giASE9+vZpXZ1wXIDmnEW9S1JSyoLfmGjJlH1jIfelQ7YDA20kyQicb3Or7bZbditXfRuovWZYkbIJNeao8KL2PfXfrjwqVIE339UNC41NVwweVg7B8QStYZNMk654HhUXn9ElBL+G1X/KRDpqDPlKofx7BQtNcf/N7+s2G55pXV7Pt4t3FiZKRn+bc8PUS9G0cInyIkiXVgOSeUg+G8Eo45uNmtfxOkJxaKeGV/v4odgvEgVhPbZ3vB2ytI9KQPKrIhurOINuVGbV9lWbNagu2W6cIY4COnyJXO19C9j2O505wgG3jefyrwJywyQC3UpkO4GQsPwWHkkSWzKyqAGtirs39vAsLXGqxMavAHd7kU+LHqqbI33sdE0/oOS+dbYI34bB47FG4JRc4KLU2VFMD/yA0SN0ETSfXUxyUwWMIaqtcREDEewuLRU5i9gCVRYS0+BhEtfLFsFJNPeGI7HpBsrN3BAjnk5hbwK6TIHIj6e6IdoJJqHF5NgwyVsp+DyDODmE+sWHVr41ysIIvdI7uujuu7ZPRdJtRbYZAO7jqj9wKwt1drncJ7DlNsjKOw2AXbdZSGiB3ruevH/Dj3ZtyNninQ2rZQnnjzjOCm5+4lKiQ1jDaJjUQdTTa5CPtiCSHVJKXa6pGpBn1cwAA1X0TEMKGUcTYOtdZxV9AZl++4vNNmU6TSXaE5oHCz3iGpfSArSrl6E75ATXqA8aW1Cx2XKPdG/vymczbbRlBCmhOW7+HEupWSj7qb/cbWjU0aWeKx4TcvFJ2c+GfckmxYhNksMrMt5HWSlVbTW0VbLw/pqkUt2UD2HVhz7de92IFiYXq0a5kEFBCD9Zup1ix+W8sfF6AKYQzrKQAj26Ixcn53+5R2Zlv4WMf6KnDHhmz2MizIwqFngoJvLP8exKlyZZ6mcyiofM1wv5xgv/stzr6QQ6AX+Ujzw+GvSJjP6wfCHxa4LqUqD0jrhpoQDNF0bv+zGfZ2dd84UUq+3dB0STDJBjAErbBKC3Ubv8OMby/G3HeW52YsGZVT0uVEThIT/YiAcG+esJdLMRm+KqFO4iupmOnSYUCm2grPtZv+aeb3MxZe/eO1vB9CWNrCG3OpoL0/Dt40lkvuJdUyeAwhApmN6XXPOmEQpQZGJhm7L4V39C88dGYWGpetjdS8joNNOUUC9QF+C/Z1GWHJhXSl4LQ6FAunXpiRJGD0XNtsCYyhblbsSHZQa4kUsXQNYhTSlZp5IBDCDEtsDThIvQMpVhnV2C3y78k/c87ontbx914+VAiN0Drp2vSroVezc7748e2rjyt+KvD8QBqP+pGUBaGoXWiZ/Bk09QVpsVt1iq6lZwBjrB1o1gAUJIzy/5eODZKNFX/EWdgRBUku3kGQAoddDHCS2WylPCvZWVWlUgpHy4NnYf8x6no0sR+CMKB6O1llXsPW8LUoz+MGT65bEdVKQ2xDfVh/aY65VGR+W56Whq77KTA1bIYwTdCsieDYnI38025WbHo73w3YqbTljOzGTm9mnVIZOw2nD0FLU7+E2Ff+SQdPCu6L667l/EXRalIjDIJ17LhPMN/mqn5aKl8HWrL1Aqd2cQMYdLDVQ1jT2Z3v9QoJFioUcC5HRnskyiKyF1rlwQyw01v0Q8k/60xB5DTMk/lImoaoj+1BEtTnvL2C8Mq5vVs5blgHv9hGgnusE0hrRYJw4AbZcBHRcghVBVNkybm13xH4NBWdZT9hkvzZ0RnxCVx+yMPpkhg0t1aPON97h998+lnocIVWre0bEfeNDwn0g81kKbTj+LEq6xIoI2JQnW39TvJHYoLFIdlDbJY2yiQK/bEantEZzzMFvWuXsxfIY4w5ZlnoeO37k4f0An6t18ge0LUuDbdIIwFC61t2G9zeFuSS3FBCE/yeacI2MkPi6s4d2Bz6DmTEscEs0mvg0GZ4W0SWd2A57pBk3hl41BAzu5vzJb0oxdKnvdis11clfulmIU14J7oGeSAxhStPZqjQa8lEgCOU/C6x6G9h0hnzK+Zuw+HtD4LH5ZK4PX0NVsRNju/l7kdlpbZrtL8oBTzQoxC+sj4gKQUo52sspQ6/r8p/RDGuiWvgXa7lLq3U4cYLOhAoaNM70mfxfcwqysB+CXxGQkO+/vC4hMj+nQIoLmWoPzkogPBfF098Sv98QSPvl7cQXEfYq49vTlmlWX6XANZ4h77wCGQvCJHS/fhilP9UHS8XnhUgJb6ruyZ1Jv9/um1OShMR/PiF8cgd535DoScAHUqJGfwEn1TvhTNz7Wc5+gj+FM4vF4kihM4bXEvY4LUInjFintv58jk6NrumWuPFEzhXxrNyVijHKLguR1G53UH/WfsUQ6w44RJ0RE0vn3tbL9tF8yU3B8O4LBpGBE9vXKBLeyx29RulStHgQ2EiHhSeD+yGjdubvVgXRjEomO/5pBeHCSmpT8XtlzT+COShrjbhVZhCA1h9xZISxv9XeqdJYNkHjsZzMRcNdZ5YVjuIozE98MX0imPmKhEOn+H7Ga3KyXzavEgL0cSxIc1LY4oo1PqzKMFlB2Qkovka+H0Hl1e6cUeHJkU9GLKWRu+8lX7bbTv/SOb99iMC0MFnmXU1nYOAoFFnyzxOSdy0Z2K4OPhE/h74CgybzO+cabidh2X08xOxSfNzbNfHR+rqgonUylr5fp9fRXTlkmTWlrAqqPjEMCNSkYQ3nIMpZbPicQ12TIWSXjM36xCucWFZk8q1u9TUfDOa0YYbq7a1/kpx6WBcURNfrEvyKnAvGre0MpR9UyykvuIF34ccJvn5h3AZ3/qipOZJ/tcO5BdATjC+zAHD/6Pg+DseRUTL5kNWYH3TO4/k4muOyy+jwZMmd8vMxpDLeGI5So1FPd+5zRGKJKMAEeE0mXC8jvCHovKhGZ+eWiLHsOKJJLtRSiE1vTLgaYb7Iuwasw12+U4+fn2CSxpIvPOMgRLVLH6PasAYj1o7kgqvcWHFGYu5vL5yMjpkbwjkg5sIieFWvA3WUDFJzFw2MT5S9i2Y8Lo/ooI1ARZQtqMOIUZuZBBqLoKmp6JImRgUSCRUaFKmej2Odntxp3nVP7IfQS9M2fO6Q+aN+SKRAmhV2KjQi9Klqe00ySsQdCxhJC9bkqag7PATS6IY3gm2pLDipUv+iLvqjcfMtzNyEVVNbaFfosBLjn6ubM2GLI8gC7seRbnH3ZKDc7D6OTVL33AqmItCBOJIV24zfBGjh3Az71KpXbN47foS8tLMFMJQ+e0O8/GJbDXb9e5LsuIfWTUAuok47VykyfNXAicxmBb4DLbltzcn70HfbYFcsLQ8iUM8wQpF9sha73dmjN/auWa10rn1tcOtIMyFOAM9+pFvOKpkBXCiHGAQnbzoQ5CXrdY/vL2/sD8zqZsOg7iRAkknGmzTzT5VipQ+294/wpzhcc2OZQlxLxj0oeXEdwBaQ/ZBjBtoTiYB3vd8gfZqbR9F91Tj2BhWqwsXdExZsmqr5pGLHe+lMYMt6Lr3xyAdYpi1KSXr8AvjhgHcHChKGr3JagBbDOlOgQwhsQQOwOt2PU+OCCsxXq/CpBdMeronfwn7jWA+2fvmuNy5bJHEjwUsQYeiCi2cltZg/ggHxEcpjMR3ZZ+ddwtTwsR5EXM0h2SSZLaEdMVdX7k808i0JJE7hRHNjZgX5/KQahKADrpUPYx51Vg3rrMs5pEWVvA0EtLDcU/IIaBr4CIk1ZxhMU12TBE3m1GjrCcaiWQZTtCRNy6LSMMlXwMhoPcLx4dgY7wn9p/Nq0aXLC1V/d60PXRc+SOo5WYc9tr1ijEN+6Rous16esBzTI4XbIbK9vPCtV3xIAyiL5xJZTtpR9rUFT3alKhfvUpP+MBIIzi3kPIO12N6ts68n4PB/3eUUqcbWICCm4IxLb29a20x/kcHH+Bmbedm1TEXJ/jg/hh7P7N096bGlAmmc4EB75uZ/2xxkS5NI0OFmQYF9hdFmp2A+r5MRSyFNkqZ65zeA1LKzTVGL8E+oO//1b6QE5ZL71nGJLrkMpYZfiVOWUZTYHMoWry4gkV+bQt9YXHzM98hRTElTI/K3vABFRo7Cds2OOYTmnYxDfEKAMjt6VD82LXTKsh3R/rXVw1YJzq0tg7J2GIKE6cuxQxzDjQwo2liu3wge92ggBhhxjGDEuXpGomgEOqPqrPAoe54KWcM3A/6YYlCN+RYxF0nnVov3V+p8xf9jgEGmmSB+HFDFsV9S/JOK5P5nll42LJgCAsZqFw0MTdewUorZvsQhxKpzw4BCINvwisNpV+Fmmn1axM4DMlThUIlGz6EcqfyqZx40uUAi6CcJwEGm0ETyR++pHSJ7zRC4eV2qJ1QDBAZ2qzMYmKCkSmUGDHEOc8jGgqp0XtDdnksI2af4xTZCtmiCDeJ5idh96AEDVFQ0Srb1het74DgcFNQJwDobw+ecLFP9RIl3eBLkxt11Yck+vUVfQsuScZRlSgChNGGd+8qAtmIZnZQ8oYeMVYQ//x2IR8SemJKOw9CH8OQI05ENrSiRgcN+J3fMDydzmGlvPdhkvgz3QfR2D9ieUwmJEbpOYlI8FbyqImu13Ec1LAc6f2IIjb95zwyWxL1Po7QOJagtTbvzzASG31BwtrnqTdPFc2M6qLCn8hX4aS7Yo+AByVDF4RDJBZXPu+gJ9uiVBpmZAW8R2b1kUC1QsFLJNQuEdLHz5xwo6tmkrJayPVZadDAf7u9WhwqTf9wy660SYkETyvIBnJ3h6IAebl3l+oQwJsX9uVQkx0qjNy0Iu72BySUQZa55bRX4B4A/T5siFun/j3JgmCxmX5JWw3vZOfxMkX9E944NvafVUIBN372X0nGBQw10dKcgJ+IjEaw/4qlaYEn9VHNEYfcS88Sqc3gLJ/rwk9t2Y3g88WwuyANSBGQ+B3LkEZerFp1mnL6xHej4obQHvZ6oT8Qy26E+gQ5VrABwwIub/7ijHGa7s3gKxPgEOaJbFJ2iVJUN5kxmRYHmVab6oUexcVg8PzXJL0NE0iF6Rxi6+TmItt0pkTDPR+LT7diFXR54V7L2VU9UFTx7F5zon5eS445ndTF05iGzn/7Z5Hk8lUsAdA43yppzTe+8l1CeOZi7OUf7J2yyZJ2oKegWfp8zHqx34OdDuXkCKjWgrcsF+feBo4pDGC8/8xG5ijG2DA2SHir7iACNmrdOH2g2vV7+eoMZQ7TCCLwn3zMX1dDpBQrnJ60b4HbXISZfXwICkNfKdjUjltGS1OGvIlXtOubwN5WOFgGGvxY8ePRpQ7Q4iQxP2nAvtDhUpSn5H3kSbDAapzHiscK5lBPC3a0anyRzQ8LYyKHGrCDXC1RchXR04RAk2tQh61Dj6dg77nlYSPO7HB/p9H0rOChgZxfeMkdGRmy0QmXrYUb/BTwVaojNVXttgmkK6zgH4UjhM+oRwlpb28jLkeo/yMvrK/vL5wdRoQ7nF+dtNSUJL62n9xB4QJiTpB0pIYIIrmbH/zMJZn0CMradW1xmUwJfonl3TyTZG6Dri0t4UpYhCVBA/qEAomgfsfJLJIhfbd3ElyfNKz4uH0CVD4d3+tjD/wlTKPTdwZvcUFd63g5pJsDhn1x9ERA2g6f4chM/KeeB+KLylEUqqsOH6kVnm6+Kp2wyqMWBWZLgDIdQANLW6H1iOhs3Pr8PQLp8JHYpuT1I1bfMHxv2NfBUzPY0ozk6zUZ545Vc/aFwk8KBFVDN3v9mw2s28SM0XDMppXm5lz8nTtL47Fal4oPkmUyXZxlxejhcWLAfUz4TZ2alyEThCxvBgXtbg7hGZsljddvT4VsooMlnZAvE4y8orOhmSJdtBZ4hQQbBatlCK/tBvisHtbciSkvkFVcMaDA/unOdVCD9DY28waQRVE9D1K/cZiaI0+abkSnaRn9S0/via60R9hepffP6oz7m9ahhzkzo6VsF8ncYZM428gpLSErrCkL/8rHiHHRKvECKB4YHHZ/6pGkzinw0V0xiylH+wi0t9ypnzcU2MYzGc9h1r/Iin5T3xJhQZGPUU1mQYdH4JZyiqAtIyl5flAR8pqDnrj8JPrhO+PwQ7KQQQfGMFYUvhyVkcTqaEaSgbvoVvDqR1XOL00ab7lUZf0vi0hOUcUhd5LHCA7M63HhGn76Q3bi/y7U/MlFm7RepBQbpHdQHBOKFHw3nAZaSQIbbX0wyvXhVVDp7br6+w4dmKHBwvohX/+qWFYT+g7LGuL5BL2rM8jtLuJIFnKj/de7w2esRXuVkSVcf7+hMMhbr3sxeL/pMLQ4g4AfcyNPXkZsJf2C2n51Ix3hjRQ66OTwbjNEE2Op/f9GtFVegMVSVEvZp3AYzyw0K70gD2sjZdXvocqkj1kBtUeWQbBi+oNyMT+M+Turm6tAr4ts5Z7EA+JBNyq2AjpLqG7Cubg8icVwFQuCykPEQbRmMo4tc1YTOfnAMoBgpXxX1JqNCMZi5U8O991cXwA5vs9DTfbJnYU/J5J6BgeYnXzGYPRuZHRY+YkxgsBoovtWfyRHga4K+ZCaCCCepcvXMPJ0e2f6PTjhCgegq7N0j/sPFN3nPge/Hv4YSLRozfbcYa5uqSI1J5fXfUxJTQqtbriQym9n5LXHui0xTQOweqzIow2sFIJEkmMAYdhnI1y6h9gwDo/CzREG26M81a6tMBfI/+EL3OUcy10IeT6rNLwqTm2gHbHhQy8E0D6AzibasPxljum0QwF63tIO7P2kGk4CloYeWNJuhpJhrkWhK2kgL6JtwJEoasg6An4LC5pCWHuukeHn2wD1PWG6b8ZkLljqPlbsJ0LHl7Qi1p96ux4bTdG6NsmCEJwmD8NFYCUu3v8Bcn9zr44TUTFhnAuga7OXxtJ9o/DJo6AJGZjV0YlCPpuQmM2Jx+h6HndgUkguf00TyLMscUqD8BXhqwNMeeh/W/oSbz+tF+t65Xbo/A3smzQ4irt5ZJe0iKkXoGPvBMfQzGhB1SjI1zHVdgVom+pRpCuR52tciAA4N3dnALg70xTIGkSTsNa6uxy0QNRElHb4nGiD08vUIOtBRQh7PJqD7Zr3S1clf9hN1Gjo8xEZLkY8Sz97CIl7F0xRTTk2+ipFaE/Zj6Q3G07B7Ce/B5rDExK2b0fU9oguD8CidFrsK9AKwLMPH9OQFhWngM9d5Fzqma1AAlOBTDOxbgnFTA8es0x4oCvlP7jlV4Y8igmhARoLw+n9T2ASrlWoHXbjy+HrPbDYWgpyb1kPGIeVgGfYWRKgUxKgQ4UIW61JlMwHhRGMwECcy8eqPB/GU7KHt5A2XyMj2Pcc3+lR+O4wewWKu/X/hyXyGMe4HCiZF7/GUY5voz2vPTx6ML9K3/JvbQMXm1yOAmqBeB076KELH3FsUBbVyQtQtS1gNWGSJjDq+4Y/qesdoBJE/JbQ1rRaN3uGfhl2SJVKfYvaaTLEu4iwSdaWiVDWr34jRYtW7I+8sni06Uw4glh4/PipjwamSVRAgUIqKuylE6+6ZS6YwfA9DmzLQYULnV70ZWlp+aZVTIZ5velFSHFouiQHvNCcPGa0XbVImucxSlFNI4QwPJft/NxjY42jM1s3mzT8TSTRHNVk+Ic8JYZdiiZMPX9d9SkjIvA0nFy5sfGJ86ZzlteplEnmDVsfIf367tFm/NNPn11UF4AArG6lHujLWWRN5NcBTSZ1GdY4gtXmy6Q4leuS91vAmHtc1z/RkuL+Z4z7rcxxiWO1icIGCD/J6IMRSdx6sE08/EzZvnj4i+jEWD6HlbxOJAcHO+XU8zPva2lOQZHqIUeKEOAFT0FB6afVoYI62HVQpDao7j6qaEZqqqT5NtX0qgnLEiPOS7xGgVl4Ji8OjVifIz5IAPzzSlI21dX8WY0OWcjV3RbQyna+yKyZ3bsjNQIy4vTzO8Q9z+oGg6On7gpzhsQUFVSScjkKiH/9vRRgnKWuKAO8QTNCZZFv/tgt1QHO6CFf4oXRqzJYlje+aqCXCiQX5j6FYrGHXD18TGmyCJVtWy6DUGWtnaqN2lgL+O1yFwLDm5NLdy2t94rPZXfvbmjOrIzxpmVJYbsvlEvunn5bBadCsRSd30KiT4HHs+q1k4mEXkW69QccTzDyJTIHaPcCf7nFmz3o238BRmjX+IDIbV+IvLqlRd3lOD2iy4mq16PmeybT0BMFFDJ6qNp5Z4/nqdg2CbFYlTKGzpIW322vW4lFTTyRLoRCqqIvvAien7EgToB+ZRRK+vyaLCz1IcqOkSDYXc20xSYHbnOjpDh9RAyzwpA53G0GkjGM379QWL5JVf2QREAqcruxH96Wp/DdvOBBPBPDIV3uOM+yGp6A3vmVVVYulS6h2zHYsqxTqjfyoUDVnzVlgpuwoyhvCmcGhj6Cdar8O6+Wu3uKAlKNo/dUQg4ApyDR/JFf9CC8smboTP1Tm3zU8/CG/zQD2qQ0KK6MmvVLg+FI+pfffUfUcQWnwOjsZ6ehOQYswYNfKQ/LV2UpHMk9q5DnUVv9Cbeg3h6H5lDvtFqtyK+ZAA100LOg8smsHey1fkK2a9+g07dx2Cdwx9p3ekUlZDljP4rtDwMYl/ieOryWWagWe5J3oiuvU+GLUc2nKbJ6UsT59L4W6a3FZ0ACBHFQ31nq8HUdTrcWFt5BnwiBO2xdvfm+UDSug6vWl7QU3iUUxQttnKYg0coCnJtG5ysH+Zt5T7gCgmlbmBsCHBq9gtlK/pmCyGTXPiEkX+dI1fCBvPWgL9SFpArJVNvgThRZfDbVl2fqctMGertf3BVeJ/MMaoWpvGyzQrq1kph/bdMJlIMxaa6g00WW4GprB6uKbv8EyW+d49PYwWfT1K5iGCpKjonvFGDxs8mtBKe01bIzM2wlqtVB8FZXlxmV1cwGMAOMtwbYyqSOTZjkUBhEDkyi83/ZDjzNvUDjf4qJs9EsoP3uZPDYIL62SW5Ye+NHqeJ0H2HRzOyyIKdzocc02Io3xo0pLCJcFDjogbn9wowkujNFFrqx3WLU0G54uV3GHR/tnaetlybf1wiQW9IDzrgZARfZXP6F005i3Vd6MV1TX5h+H6fVONVQiq/NmBVblPNFVi53W8MUAJcqXHXzXNaPMiyPEDN3z77Pfwm3zFBiptb94Hlyg1wFKtmY8V0x7SOL5UtrQ6ObE0bh57ZmNeA2ei0Bk4NSmr7pwIEthCh7geMYtBPIH9Amn3lwsulWWDxfWZqx9i84nnIev/FZG1uNsiB7Sqvb+f75XOAF3JL2jjleS5R6mKW0JJ3m3NoitmXZJkMLhOLRujPe3FrYKLblNnE0vlDTETnSEjtSqwxusvZl+WVnrTp8+R/0rqVcOt8iBqwZGznRBsP9ftxvsy87R4MvMX7Y2pL2oHZTFq1pC+thbQzZMTqHkzsjk/OtrYOxOxi+oLBryPi/LeulpIs767fidkTeVK3l9T0X1+rsE6wUXU2Ta7rtcRd26JW/5Nu7OQw/TT/TqXQ9jJ25c1i9PzbvhrA/Cn4QUsGACkwkTkr+oYYp3EiB0uazCzxKBY7aZexTXjS2uGPccOM/diQM0cn/USqSR6q81L6iC40Jgmo6UNShp5xxqI+CsPNORwvat4XJZrx5fSAOwbBSdVVnEvvVCl4wmTENbXkiFmUmW5QPf8Xp24CKDYWTmTJQrtMCtoloLo1MorS8cMPk/fgmpanddRwDRH08K33bgLaitIb0u+1q8GrInydEF+scmR0GBj77l6Cp7jctarF5CHnl6VKicg9/fMtS53me2HsTAH5EiKRVIVMuyM44FO6N+Giw78lu5p0c4uv4wi/CldbOji0tdyqqfA1IXC0DClmFiCNin5rnIFddp/2AeP/KZLxsYI3Ml2Kizc1pXQRvYRs+2rtHN3m1OW7Aj6+qAGqElbPzhk2S7NumBh+6IKdvH2FGcZLMsXSZumu7VLznqO5zktR0z7clWEpln8V4LHM+nlPtPU6Cp0B4GYFnsnpxanlxMjTAnBqim9F4o7F+/5f68U7Y/oScIoaZDszqxld/Ipd2BZIUV/3T8PBgCKWry2aU/AMv1Ln+LSdt175/qk7XIrSRf345lylX1/nwidkQtkt8Boli1o240w1wR3pIQyL/bi+n55VLKakdw4+FD5iLkDia+087lqSN/Z08kWHA3LE81YBDlx+kLbJIpV4mMLPMp8kdR14/5J6rTV/ge5GrLHgCyyn2JXx5Rjvm3nHvOQtD0Em2hfuQTNoq2HcseYVggFVhM8jbOaNnOLzuLDlZibrSiCovHDt4RgRbaoD7yMSCQIS0xSwTLiyyytQkH7GeWt9k2Md3aHx04YArzGlE540Dv4jDc1DnlCNpija0+1RPcYa1y6K1mJILF8SPywmFtpyfLvQW+sv+TrJzJUVYXGwAVXIO14ljyg1nfrmlrWFjX39w+OB9WTuEjy6Uy4pA27q/mAQjS1qzG9e1M4mUk/pUtFhxibN049HHgNQ1ZFk16vFBK67Da07P8hAMzVgYGcUiTHySabFWldPePUXTEOMwLDwgxOQZqO3R3bLIXrD4ofb3pH4rIzzZmm9LEv02n99ZDdFZ/7C+k62/B4iJ5Tg1TFHpeW1q+isGB4HjXQZNs3EqCMm5kikNbSyo4uyB2ZUlt7UwqkmjriIvk/7yVaQBg4C5a1jlUZXowACBGLB8Mnnc3LvrXEVohsZCQPdxR7TbNUJZqrk6qnMgqXTgiVVWUwmKiORx+DxM4xVGZJKZC1md8JMXiU4rsTO0ScEiqeShTbMqf3ovhsutHHkCpxy+lIgZtVaNP9QmrcPQtNE0cIhkfawoMsTAFzevFkcV1rudL7uueqNF7YM1L/XkufwfDpoxy8hDaeGsGokm3T3QfvEj0y6CwMxX4lU7XB14SeJNDiUw5N73BDO01toFMwjR82aFdeUsrwGkwhfegZPCj23dyeUAxceJUb4HakY1N6F+jZGHLksY1lCzIbOeSx0fGStmJiesaT5TTPG6SqtjZaiayx7e94iYth2uancA92aj9h37gPC3yX1dp0QevzvqneTP0N5n9izIBkIwN8G38JX5q+KNdUs3NOpY6xSyshGBwVwLwXzzCsejtzZuaZAadpnH4Hqnk+aamqMDEG7NU/vGFQLITqg3v2MDL3490p88EcSXEAN4yGFLuH2XcyN4OrbzBUyHqsrKch8y8IDgH+ruP6lS3VzMQ3LwvTwkRID/uZ6cIfhttTCat0IU2jDu3QjcNEflWg3AFJ0Cm399/wqh5PJN1h6lerlNlhHposjwYkIo4yPNRRJ7/WGyX+nayVladnuuU4W07qudCg6yRBEOc2eedcjwaRzoDmc8wnFdu66xRwL0xnHX0eY/XpZkZ/3CyPIWofb6TRRCAAnuiHDJS1KSq9I7DdnDLiVbWMIICGUEUhGp7E052VwcH2lSpttCr1MGumE+FeZ3LdrjS30UTRg2pp2yyDsZWaOtPCHZWgtPRd3LajKq1q00M2z8M1mwLXisdO3qr47IMcN+5e21m0aO7tdXdAGQk8UzW85VCxG3zgBcLcReiQx0tqNdKU72Qwh/q/WjIv+2XvXE5KxcQI8iIchMN+kmPSi8p0/ooUAMcLh+GIfwWgSNlPnniHsoYXudoUCv5Av4P8VxXiaJTdDWXgKta8srtoJir6n8ljSjAcD5/HjnRrRUEMEPX2g1nVLoJVBcPNBkB7RIuFm52UwZ/7MpKewjVS2aTCen52QSYp00nzPlo7RzwArVsCvg5XMRmNKLH8OANI1qiVfVaaSZiD7WOZDeezU7/1HaKHXrgq/XS7/KzJgvXhtfs95X2scbAEo5AlxPf0Sio49JrCI/1Ysux6e/nPvAsysnps35eRR+TqvsWGZ3wTQaK4A6zmhZQJsl1/HVxPhyTuYEENT2DH0JwYSbE4HLsKAEl73BBH836hygJ8ONQwFa9TCAZvX5V6hlAxaJa+by3hej9cyt1iTnksSKmYQLGjBA/w2gO53Zvj+vmgBLMIYaBjQRvXfpZAtNolrXimIy5ucOADvhqVoe4Q70Z5goKQsegL8nczC95o3vH5MFyV7NQHj0uQwQhqvIVZY6ZKq4EIXDSKIxZONKyA2xHGePFuKhpwvJcGa2nBzx5rmDBDeyUIZL8y9fw4qbovp611L4jsEle/YfEFSCh6RlpoirEUVoCHZWItHrBA4hc82DX7qVZAYr8vzizY00l1ixdy+e/z4X2I30YjtIFOOqCuDbEgNZIVg4OO7GGtZWh1gqOxel8f+m4h4u29TSgsIHQ3A/1A7QYE2mGf7P//IXqzd68zMxklIO0J3NEU4ZiGsr8iCIuZ0Cp/rO1lh8pv0Z9cYNDJbaUFwjFnZ4lxPnZ+sOPSgQmBzGai+rajhjunRKLkU4xHRtqIGQPA4XgrIjj0rVCcts2CPnUseLSv24PFx+fBD+FCrwhjJKP0w09K9ZY5qJnXjGTZ8fgW9I56cE6iHY2Le3CHyYA2FMVh+p9V52KIu7yUfbTRuGcgdwhieLH/LIu3PDGKqbUyffb0lQZySEo8q1n9CF1G0Go/0ILdKoOlnER76vWIKnKbm5uRvbegrSYw7EAjnEFug4iK+Dk3bdsZCYReUKQYp7G1D+UvqFjkLwTQSlI9gozQHEN1OQjcFsjmaBgiGru7Ipd3JKrzu+Qmg2eNHTigATqiojkyzNbG4nNpe3mdgPR+Phpa6ZH9gVKZc5eYFWCa3FNCklW+pb0s0gksYZGoQ6ZzVFNRXbY5SRKbwWpFcONg3USzciXAo/gG/fS5sq6clgT6MfpF4Vmmke4Roc8KKa51oq0w+ezlTzujeYg71PKe36STVQZgzN6Ai6P/YH3Rai022lRAH0ONmHaP7yF7QKo32x+g/qcNdJ2KUhTwHawGZpdGFpDG7+cambfGa3VNi/229jKoNy7BED0Flz1PZcXjY3WaNoC5KK018MnhGnwqh6HCVp/DJViqw6y12LrD4e9MtgAj5ZjGb/WCrcWSMhVypckp7/ycNnt0L6DJ+m6pRQc9Oh2aToDdWdSPxrA2WT/DnsAt9oWvZe0RZaOHa0XfOPcCPU3+FtLNNWyAsCW4fYWW56uWe23pZMhn0y3yjkOoMpj88jN+sauifqO3QTDXiYVOPFNpWHVq9JzjGke9wcQlphki2uD4HJ5H7uxufy46K0oScVoWT5/66cPuPQy67ivhuwGeEjdlFOdbKLT7sFi0mnmWF446zChQ6VfNgcCAFVzxNruBPaG4uJDpKKP53vqclkvZge4MC03ZnurGMuMEonS8j/M7bA0KxmRbi3R4F9Lm7AVYRokpvNIsQooqtz+iOzuTcIHWvcm1F6FF4g6QjsBUcJAEL5GRoDbvlopZymkghFz8OYt+SusS1wb+IS5l8aagqkqpBkd6WRzVF71BbRHyNlWAEFWPWI+jFNsnah7lNJkHB2AJKmeyEv2G8wKb2xY2bhuLTlrchwjbgkDGOSLJQTbA44D8gT8hfAxPeAe8qXH8aDquEgXEztRfU95M+zWYMr/uAIxhQpWsDPzttriFTwSqhkhqB+xBMYuGT2OVoME5ntfXwexCUB6H0YNE9YhRME1Dgv6sgKeNUZUTskyD0rt25P0TQdSW+azuGC9gcD2jHdvLEe5Yc0NAP1aBR0X+Dm7UgNNPkvtVbHozLgzmTlmh5XMlJePI48uaSeRqSVyO3dmGG/5jH0OKx6BZVHE96bYrslgmH+2UeJyuWwaZsCag3ZMiNUzVnW9N0kF2F0tMdzfC2091CfYvxrFKHI0yvJgfXSkQkAdy9gaYfu9TQrp8IfbdmzSnLqVCfOvOTdE6lXzqrTOPmSyvamM3Xn+2cdQM6dzUa7KwntkxqV41ATNdqTK2RHQXbWQbICen6bLlJu8pUZHooCbpFVD8bggdwmuZSlOb5ugI9JYaancFf1SYGiHJV8vLhBn342aLQeAOImtwiFNkEyNW0tRJfpEmLj/4oQXNW/wtbTftyQ2tc1xGX0o8oW6iYaoGXoSG0ymjEZoPEjGi+Qwt3wDzDgnQPFwTcnIYOq6MJQz/qDvpmMi5CBIdKZEYbxm282CrOxkivVvn8h+2PaDT0pVRjhgHOP475Wj1F52E6fUF3oYpvIMBkSj+d48RkGZkFuuRQcIyqvg9DahHNnODQVt//fWZuRVT/toG3FqZodtA/7X/M8XqL4ELHygTZ0BX6S1xIPpQFKMOqeEgWoluGViEBxbe8lL5Wp/2Fkmwfp99tDbLzFkVs4jXTwcsqyo2A45UEmI7NrPzpija6fgTR+r9lMNMxllCSmZW08eCli3x4iEk7CbK0R2zlwE14nRZfahsrqs7A+XS2nljkC0Sn64mX9H3MNuuLPd093zv8X5oOCZQkMEFrQW1s+fBG1AYg1qor0negt6dd9iDEYbnMfHMpqkyHeMO31xObmdyNcvrEzvysByETKXtn4wePlLeTEV150hGJhx33zRtPX0+DrKCtZZEX7MPiACj9mEtDX6jxXhBcrBWJR/D3B+/n86Tg37ouZddTTe2Y04sycKa+9vSDzJj+SQm7iGXsSkv5qXsEM7UGyYD86SgTLtY57xEHvVSJ1y/mlnp77XhXgNAqkeJKMo1SXqH1D/KfTRToK0iQJ7lB29ZwMZBFTqX7yiSu/OzoU/yYwEfEyH2jm1oPOUUz4ScyXR/UDx317xK0Q6Vqctowecf3XLdCIrrHJW3S/8BcBlPAxOjBg+McTgG5s7nHmQdUveJVv0bSbJEebtFYie+ynEXuclJ56GSCKdeKjFh0haE/CfAbzXP69FCDu5LrI9sjp+tpDh4Uhe3Qo195AVp0YDyCgn4wK51+1UcmNlZjymkQP5H3dN7Mun/3dkC2U3UMO2zGVXUzaZEQ5OE5hTVn2/3uB/9RJlVW0KIWlDuDs82VQfY890ztjbB8N41izACsY39EEcSsLYfddbdp5I6SWIcnnrSP51pp2F2dE49cPgOoMb13zlBIKkTtDAPXwsPq3wm+/8djJTBqtGgVl6bk98BLe/taZnZGt+qnGMdY58nxdlZghCk663wsFbjquaTP4at65gLi3AXJTSTIGLyA3yTc3H/rz6A4MpoFwt0XnczOGoCTgUBxPtA5TmJFZdIzPz6uY21RUglpU+kDBgCD77ZynP4BJ26IfmSOabpeMtIzOlL5P8hmkXbH/aX1rbHwoTqxG4vKrQ2NwvBqUsBLwzb9x8HF+cQ+xoFIX9ZOgB37j7aWuRXqCFyYjaaTZiUGAw+fOwyfdHVuLTdB1tROpmC7vw51976CYhXS+dilfmxqCo/zQvRBWdzwIqiU7QuFoYsyxfvC7LRyZeqrhU01kod70jRfK5K7zUQJP8Ry6SpymlJTcyGJ0/nMiTlPuycE/z+azUVl38cNkFp8tWqPErgnvoM16iN7qhAepGaX95BRjWNJD27GKKrlHlcM9p0jLe4KntgpMooerrhKz4uasxtsHZqkYH0ZFB1ZK0G9MimwBWPOC1ywlcWvKmYaLy2XnprvL5zgbtNn9tzB6DNpuyvs3mlQiJcuixY7DBMxLaP0xLOd+MjmqomCAhYKuvM6pL2lxDZvHU9jYJ+Cydpg9fB3Z/UCXdYojvCoDSpxsXBGHzlNqn7SFEMj3faQaAFH2+45ARlbMBuf25hY7klYHL7d7zLAFsugSyTQkYBNW4372CPzY7cfqTPKlv4TcZLER6dvVltjxtoBTdrcT3Jm31L1MC6XW2wBIUonBYNoLO0PeudGXesBHcxqGPE+kVLCZyiK5csjWfNaNxRGeYpOt5wt8kQTj9icfsRVzuOyjwoQrtwzNcfUI6LOMqBJJlTzcrbYrfQvOn/jdKBFog3xHhrGEzAF0oC4i0p6Z+R596s7gv23YgyVEeqs6RbIh2DtnTJeSr6uP2U85nMYBdRRCrkFsJWKngmHOuMecT3WDnXudsiPKeTZBhJGWCB3wu7Xn/usMu+jlUN56tHakxkp7TUwbtrEfb7AVmA+ZesBHYefanpSJsK1Ip5dwVmhYkcOCllzCFMifqjKD7QVAxX+nFI50HX6rBgnDOB5ZSFtDIFJHVC7HhYlpvVrr7Ih8J8q5hq7eGxt+GbQEOHIdZFjGRMSRV19CwT2q6P4LaJ0RRTDH6CnQ5D85gB2Z2U5w/xQR0PfuJ0R+2WRt6scNOamzkSeTOTV9wMrpFgrzsHJNQbyedTKAGqPPKZVDG/SVFoeiouBtgem7ScqgduxjyJ0Z9Bmx/VxzftrGqAdz3dGL+QLZPcS6SvtbiPkTrzmaNAUtrIGKk+CvkHTXZe+8oSFlliKetO68MzRH7dq3eUkBfYgduWGMS4H0GsIp0hXGhfv4P0Zug4IgE801xpZd3AjKiNFLG7aRWNuE8ZFOknFE37/Hf/63qb0/AQeYk9aACijoqTN71OQqQAwVPHTAz8QYYvedWeWSrh4daTKpDU5gSRhi6XwzSSbVdpRbPtKokjsRzYHNYtO2wsbFV1devtB4wk/V9o8DsxqTNEXgVRZl+KZRx1fR2Ajj/97BqRLx8JitjxDfYSblRiflFGR5DTLlSfW0js4Lbzw9kiMOB/sNaHdm2udXngvPFG2BeyQWOt6yTlkCsFQDGWRVujDP+tdlnUGsdBeOMCyFNbLmak70iuaL9imIgC5dl48R4srSO01ZPE2nCvIJl9wlaUlCMZqB4wCMX/lQIn1lEmqdApcIy78zccbw2fjB1SswyNiXZ4cbFU6vTif1ohBgqSxNjgnh7Dv694rlzGZEK79wqjDBTfGUCDHf96nrUZkhggKxJbWbh9IupT2gSMXc5xfhO2E1BkWez8SO9OyHzQdEyhWiRzk1GpLDJbkdlJnqyllJCqOnb3Qty9X3WSOzwXImnEYJTU2GwpJi8CzLRsXTjnxlLjkj8Wz5kgfywVdqpExm2rHMFHR7czvOSfBTHHb7z6L9xz6sYugcSeXk1bTR6ZGpSdRMuG7/MgRGB6HkooYE1bUlz1WUylcVOB+bOwcSuAUnrv9UsEcoy+gdBIYTcFlLQCyFx6ZCGq71MeoWz5xGU9GAohrMf64q/Tqq9IEf2z4WyEpvBs6AkJI971/ccYMtFYOsjtZSpa+pgrI6FAMKuW2wKQfv3JISVUwa+PEgbF61Dxze7wi7fZQ8/+n1xBfdAkxoTg8NlHX2UhGcHjJ6jNb0gVXbhdvqXiYceIwL9hKystwOm7dvsn8vKmhGN8ItAWkuWYFit0X+dQNvjGuEVS7TdS6tm5i3WC8MvKXkrj01VpMTC6RU9waI8A+Eo0FEUw0YWH+qvD28FgI5eSejHmUJAX2miho/9u4VAckLkWGxf0iKBlNNn3ghj0ngKqtw1I5mwZrrHij9OcCdcJ3ySrASCjpdG06q8ofGyfE4TLHXP/p3kmodIKp/Y/nREwG7L9LYWl8gUEPUU91BO68rmsstz19MhJaBXCLzvTDzrAkYDoWNBx9IDORskp2VJSmxQSmY4xue6BfXiRuMnbZBRIWQU3q5zVSzTdMWTBefxd12AA4sjjTBh0whCHXYuBj26RhymP9TzwM/dg4FazMBGDlxipZZrWYEMoTGPkZl3dN/qdA5lmq8WVAWRqKXQpGwRIpkM574/yBcUt/vtiWHZxocf/WJxIByXZAPiE6J5RukpJtzAlwpEv1ej+s9TRxFkB/aWh8UFpVUwkJZt5iHD1q1va+2ongP+2ZX8yOhmbq5fjf57laiFl4/QmkmX2wALafEpowSBhlIIqtVzTvmxi9/XkpIWw8T28vsacUREbnc232msMEir5BKZsqqYvTTddlOTDVFrkuL/EF0ewXNvIj6LMKs2Ip7LAsfVwOaQbD3CTmVorBjS1Anx322K+VTggTc4RsHOreuP4JAvtAAbCSXCNZu7EGXCMgGr7kUtUFSB0gqns4jfi2hXiTYGqPD2Vvf7ILk/Tw6jo7m+7QkpN094JceY04d//PWb43VxvCGv6Jjkmk8gLHvEjuG3OKULCwHi/c5HKnL+WUQxHx44nKqjUhvs7Ij3AY8vrrIknvNFPv7jC06CxtXPc3MxI8HDfOS3H6iTWBQn+g/HxEoG3EkAlOF1kYkSGi2vP9v4iGLr43ZGFrppO8KI84KvLRrG8CPsvR/9spjW7m4asRUMK0DHrNHFACMasrnpHyMN3eQ3h2Hm9rKoOrMZnYUgiYphNvKGO9VSYmLeJ8oHXyZYXVHnsZoF+teFtYcYkbsYUmNOgJruJCWhjchAMzsaryaq5FGJoZJ0q2jne6oo/dmbVvQMEwshTDUJVbbplvZ3SfCW/rVNGjQe2FDgaB0F63dEnw0jWmS+IEPsV9i9ZCluKS78kSVFmQQMiG8ECK5g7E+AOkbDxYub05ACJ2zFimqyprILKCTORuC0aFv/WD3zCC1N0n1eVJiq+ytvY9QdnNqDh13uUayBey/EjC/56mE2Zkh19g5e5uLdlPZFA8/84KzPwUwKJGC1N9j/ouIu1hnSvFht3w2OpksfJWTLX+JlrR327gVpJ9xSwE3I6izWyitSAq58WaorzKy6lAoME2WRcxXgEsMeQRtnUtDau8pA1OmoVqunTdE0cPhctY+A5ZHP3H5Ix8wlix5fFtnqnvo/WV9zEr+1csZbc98XQxXq6cOMUZVQF8ucEG9QsbvVLK8eXpn6lWQ1C3+kMlgjWLMmyL6GfZz1TK81uS33h6Z4YgdQ7iUE0NDBc7B2/CAc4GSbWg8NELO9dLndSDefvZeFYOPYtYrqhlBLQNC9rNgJR2L13Af4+MGXmQxb/zG1l5lhl0iK5kGhmt3WSF5ol6+Xmmz5hRD9EUBkumkR3RsDTafIwTlZ7JbCup71EQOl2MBvLcVgQ/fWgd3Oh1H9jd1wmzmRUVzPN7VkvgMBeIyf3iRWdYJL61f6XLj/uJF7Y2QouroLVzoUqPPxjQ9w="/>
  <p:tag name="MEKKOXMLTAGS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/F0t2KXkCv5y/PBSKBx9EH/I9iV7wYW+71MEZEy9hPa7FzzZnox9jpwfwXQxl9CbP/1clo6oTg46/4FDXTo7Xp8w+g0N9MLApBkR4MD4IiVKMuEnV1pBvas6DPmulSdMPXgc8PhP2n0llkqZRGgFxDxbeAgVCzerSfpT+/XzdWTH7ZME+tbXlbRgp2fSarVhGiKSTKuHSPZDVYZ9JgLkuLRc43wWK42o+AUwnyQp8WntaOp2kY7bHdIPwjf4n2pQbHEjRSpIINIXPeW3i035hHVBM/Kx5KKEmU56fGjDsdJFBY03IvXc4lWujV6UDrP+2GJE3x9Xyf9HhQSMbddfBH+SfIBXqXKvIDU35ectRnbV7xiPMGbpK4g1bRB8NIMSKx4Liu0Vf/iWYdywXQKWLULYfwH82CMhsu2xvaBu4eCSZ/EOU0HVP8gZZiKesfcpyH+ixTj2zAasQkt1P0OnQORCyh9E0xO4PqlQJmh4P/t6VQsHKQmiw5X2/1vCaqcIBOdc/WewtKPIONUryPCtZO2pM0hEhl6yuGMFWhv0VRm7MKiomDz6IhQliwwK3YlLhBZ7WeH/wIamK2NVDKF2aYDJrwzog++w0boEEsH0huSHpNItd5GS+Pt3O8fCVUicaClM72KycjHklrn0FPcMFASTYxPaQELh11xnkfE0eDx+84S+CTldmDWx9T8vhtwEL96AGJoFF3gVtYk+5LBHVXBpP/C2R2nO3CNj+i6Ncmf6yj652pnfxLfo7spA5tjPUM6vPDEIbvlxsODVAkpL2RfqPHa7GMlRwLJBxg1CPkK/x2cwJ803GaHS1E8mlajrrRKPpBPx/1a5q8gvtAdpWJgAbA+rhChhNfFi2sSXaCZt52Lm+XV8RAYpk2vYak/ay2XRw3PcovF7OokEVWrT6PCtpqoZ2mZZM7e5dKAesB/FppPu0LiA7cueknWRaIeijxpeH8ZUWl60QpHCaCHK11s8sZeA44N6meMEZWeums2+Gf7WqIDj0TZo5jXJr7BBakpVVYXiVnmMP/1mM6X4IbKEHwjYrGYI9VPDNnKKBmw5byx7H7vIb0ZMqj1rpR/oKwSCiAUN6ewMe7YvUfRrzL2PrrRAyEOva1KQtwXVCK5372I8O2btGqQ6R4pgPqjc3HknSdsskJYPw8uJlBBS+BMdmxTIXxaPqr+Xlzu+2Kt6Sq5hqRx9fvUBPu7H4pynZGIRC0nyEjTRnoQmpmFN3IOcJ/VYbEh5ubF0SzYMNzMV8z1TUsI5KMYrtGPjmIRuOCM5/5XSqSqRkyZoV9En9YnXBAI7dcH69qzv89IAG3fSt6ERKgse+k7i5tCDSuOZaYXFy02P1AuLBaiH+CDhDUj6cFuRvVPbGYoht31mwIdCuFuvLCFmyp+QtV9zXWtmCdUhawB4OUHlHgoQNIfWGS8Zzmf8ohcFjC9QrbnJLpSM+nLWkCNO1E4RAmRKsZQt0WpW6ZEg4q/0I3Ugkc6hJhR6iCudNfaLKyr3oGrzPQxiaQMTgGooDE37FF4TJvHPrLoMusEmAWlL5kUSBaKgZkdOvm2ET6MzX6+OpZKaQl03lm1/A3wms+9wCbDwLD+hOEJMg64rHhs9+a/j2Lrjd0YlD+cW6uNEqxqjff6onHehhtvSfhuR8j5RJG7vDuHMwRH15nSFbmIUoFDuwWaamDA3OE2qp7hS3+6VPH8Ph332CIq0OKRum59Cp2UMX3mezQ7B6vhfH6dl2bYvZm0fJTg+SE++ni6xKRU/scYD8kJoE9de7JyAVmPv8uLKu6omBk9RHXsGY/XB4octelzLIy0d7k7ejGErGjp7P8WQjXjerUmYG4Wq9vmuLnrcPcY8K71YnfUkNdJQQ7dxm6aPZ6pEPpvk0kv5lvtiLwfSStaAx0DuH3lG8JX4ku5ZnpwMznfnLngu3KDt9jt0Djci9fNNKNXV/7+WXeqWC0wOsPwgHvXrr8okbHDhoq3msb/UMhwFDwy+DWAu3zqm9FjCrB1NFX18JkakKeQyIhB4ssYi/7oQN+2mcyx665UIldFSqqEOke0u2jL10QON2C8XjDa8iTierpi+ac0F22GoFVZ9KzvHFP8UHS/6P9E8PDFlubXDwcLlUh0CpIHjiuPeawo2ASOg2u6+pTnWRioZ+WRMokuCjYRf1WLObRkcjQ8Tn1zlMPfy8uMPB6OjI7/gUw1YGb+ZtV5U9iv/nuADRkieM0zM4WEhXWmobfwGHaFBClOwt8Fa4CAAe0fmEYEEwv4LMACvE1K8Pj87x0SZ/8MSj6l1p2qMWmlxMXOHFzbG3UOV2wtr/2xRXRwJMU5dyWIYQx7Vfo2MfUR36LNQido9WWyfHNOpoqmngPORMrNqb3NSWXf689QG5O/Z+/lR1i6a8NHwkZRooA6y9rogrW78JoXBlUOozf2H/xWKU7XU+wIFpWysH0d853YGKrthpdj/zGZZUuFJJW7ZwfVG/JwLNgX/qsoq3l8WSClkYdT8jPCmLWxh6uj38ITgq4/YlS9JZ+sVZQvoDat1XIceh/vGdkymkKlbrFJzxYEJO4gLCa2SRR2h6S+dwky//zxUidMbyRNSWaGds9zWb6jW6mwyuoZDSa2Hp0UFcrn8x+SP5PsLro8PUh968zc7DExVCoh2Fzfm5KOHcz/Ann7WqJnPKScP69XoKJUHz/qnrFXtNnyz88/LarxufQAcwHWjUmlVOj6zViroyf+Iw7GJdIh/lvYUdhE35OEdEvr0VpCmvkH6CpKEwYFJ3wOPGBgQy1vpDjtVGcbDRAz9gkRrREq67bNW4OOVCle39BualPt2hOZ1TYFVNeXQxMObE2l3dF4FUOAo3ls6yh7eiT4Se9uvKfyXqcarZhWdjLaLjm9+yLH3c+ibB1Arz/rhU72/bYpSsisinb4D9ndwhJFSR7skutUCd4o7cLeBKOy8DQ05/rmSmMZw9iugrkdE7miG8sNj3+6ljIi/O9IdJ2IkB5zj0tE+d/dozPIDy9Fu0gcD8n2ld5/pcmc+VWUg3RwaOHLku4mOKKclHz5DDMIoW0YisNSwQfHnvf9VmNmoPg5r+iwC/aTH77bWzSv8U+z8WBzK0bLqcMqIoGDWGtw77M2iarg1sNIerAJX/IbDRXC8Xek5j/OuZHtns19ZeJIeczOS73AwT4SXnanfF6U87EX/wpm8pTLHx+uU9UbMnFgOsxJnl3imUltRkr9YQ6YHd5Xn5L3nGpc4Cu0XYBM+oPgcp03WlZDPF+PJgbTSbpw50eEExjUdZzh27THAW5pql0apvoJFwER69jPd/aDC+d8WyT30f4+flBEmC93lmAgtKGaA9gxkY/KvHoggBqkfv19VJUywD9E43O1UoqA8aLpjYG2KO2MA2yqH7C4Gq16xljHjLWKjq3qsp9EnYs01cnewANlbwIveq7FjXfr8Ji0yPHGmmXAkva7VT0F0VC6qTMIIEdntgtmNgwdcNdU3QskhPx+gSQV0nkSrFj323QCwmujAjgOmutN7iFyjgglV9TtjvjZu/3F6XX0k3Ndmg/GcvItynz9Qk+CwXXpR/m33oE+TKHk3C6KBOoZ1u6fNs54Ly6InBBxxxNWq03CEivvRUvnsTHcq7hVImLP9ulwXp/I15FYGmDMSgoLAJrXkYXRrwZRpr703k4Zq3fSxASCPYIWJIm3Ypx00OQ5bGyd01vu0eubnK1T69yrS5H9uL51SPNgRYNukGQBuEfMSA1fDaeO4CnF4fuB5H77kiY7Gc0ZThn8sWJZUseZxPglVlsRjrIr1pgUAmcPxHH3ojV3JRlatW+URvqB7oNRa5pchzCqzRkQ3SmOS7fu7Nk8gkDqZo2enNp3Fz/47HCfYdNUYgWhkHuZKtEJ6oMb8I761+JJjTFjwR5gmev5VHcXY/Q1g0p7o0LH02KnzxJS6DGzErnCc5KL61cMFIcS1DUdMoc7zfTrSq/PgUV+mFbxk5gFUVS4zKYglm6XQjVx3TFWyLcR1JfZ0QxbB/xifQOzfTDPzBaXlxFCCJmXSdOts2t4OaQ0N3X9Swo0C39Bkkz8jAVVC5xpwTT+5MamhkSbi81uUcaySc9RvuBN3iW4Yw6yrSDrOKQWUtoW4VbUm01fqsdhWTYjwJJ6iCLFirQBXJby11cZtxAbi9IQx20OQ/Bp9cE/mCxOH3lN1wipzslxj6EXDShGBUa5q5U2MsUuXIfI0j0JuzLCfrHY099ByXg7qw/4kB3Yj1NZ6jokDFm3XuxFI9dw/61Q7CPpkmw+YU8m++ebYAPbDqAmaMEqCpkV2yN4OzIyM0Bd35orCSxuOQV/P8ny0LIDS5j71z2BUWla+Yl8uU8QtqQiknPiFvn8ISc1khIwiDFZY1xJTjNf4OTz/T4eNkBddhPPVnCXtyCP+uG+ByZWM9EATmabHf8ksqrcv7DsHCI/sitWnX7gc3GEyVnRgjBq1YYDGc4HM6pkcgmoKJdhfKGP9YCUoMKPYRRkeVEiBgNRWPtT51f1Vb0x8lJCaDhe6ZreLAEuz6oCFlw1l5ugbeH1xFhNeNREkoMhvGKGJhi/XoyUImsvTqZp/i1RwYQy9L3gAVNngkTdzkLvLnlDmAbpNvf3vN1Hp+SKCnXAep92EFHKyziMK5hagttQnberYmlucgI1up1fEIy7qet1GzujDjO/50b7qL4kFNW0mAOc1Ia1Lde7himBWxH4jL1S1xRUK+FfJPFBwKQBgDgLY0fxeBkeLUBfnx1sc5pcqAhow9oWROFyoMyNq9r8V50h08EuYwyFm3tx7aadL6e7SWCqL0IG4oamOyegwVqBnYIO0qAKPtxztoWxun44bqZP0LlvVL27/BC5ZEPnA0wy+HsmvspRIE64OoMsVz6MoaXxjEVm2G/WtTS4oh09LtAdE0HNTkAItBRzI/Jxji9NqlAbVWcp6Hoc6YDUAImMg0XZgYsUTM8Tt3QNBA63V9MNV5lMAA5JSPlBLQeH/STF032bC7GGY/9HDqYkXIzXrXUAQlrDa8+07+VavKYpsfDKMhauW1wQ6VcAs/+lHQc20NXxKOPG+6VpU9OJrbC4UCzLfaxfbtr9wQu1deAxV00AU6m03yaSYsfEWrXYbmp4/YiqWwb5aLiQsXfFBQdSNlBl6A72kp+piRQ5izXsQuq/NZJMkK1K3yo5avgVuHzt3JURSCXBtAlvuFS+bbONK9HNldXRgwAuAsTTcEty0sMMPsLDyr/8fo+hHiDpmrd/O+74sI3cRs+UZ3bbER9CJrvtXIlCspNcoClXoN22gseATiEmV/DPn1y9QdqVIT5+11N/U07UKJbFaqnIbRzrjygRt9/r08ksq7ttDeKz24FnoMA9kQatCcaLhFmFp4aL2UXNgWZnnuWlrJPYj4ozQcH/YqlhiIydNVFJG1swhf3iQ+oIyoTQVdtjSWyKUelpzoBErKyyEsxqX0Gtlr3vS8Kt5N23fkOlDzaTPCJCNtaLxulJI4kZautfkBlXW2ESjFOcjhJSl7FudIROu1royoFLZ/uQzxUaH+uy7dOB5K3kHXMSY1fCsgrRBsBveJsylc0/DA986FkqvkiXyTZNmzGKFQUAnrAfREmlQ+wSuBn4DOKlCOHtgMSSPDTvEjXmBusosFRqEfTkKV9efpoqKykpSzH3hNOQBH0dyMJfeMq+Z7adxKqQdNTVEXhgrK80PgrHA9WIrcREjVnrbiu7B6gGKHxhQ5FjgxQ0AvL+TmBHlcQThlbWOseJOfkxlqc78fwJUn3TF6/7E/NZDb8ltiF33Zlc31eVuczphGU4091DvBpzAV5Dg59ieDw22oE7MbYRNg8lh4J+NJoWMkMnFBHM0dNKMzMjEFNg3oabHFMmuoeXEWaL+P/X65eQ6GbEXp7nM+e7ZkQv2QVynFMEYJt8ogqNGKC50ruaFsAvdOlH7PxbbbhwIu8bFYyJh/375u/wxwkODVND9y0tdqxruTW9h8pXlow7Q59CoHrYcxPK5Bb2+uICM2hFCj1vyEkIBxVQURmPhH1OR8gMmQH0lP3OGVPgTEdhdI4jw3z9HvTVlkbrIGZXg+WUOZ5bD+ybWLn94pCjP1XJXRq/lD+iT8LcmSXZUm53H1Y3d1YlUVD7uX3eJIXU4VcXTD2Y0TtqB0OhIvvRNMQgKv+HPkWeDgBYCmGGDZ6WvdNVwpIsOFA6Lpe9q4lyoml4c0c5RmK96kUlNKmHOIyWDhM2t9CZ80PzSxyab9dikfYXhztZUTbVn2SFgcC2CEpjwvv6pZqLhaVc73TCFvDCXxUCPZbWS7eY5hie0LX7qaEghqOlIQ53zYZhdSLuLNvy+forlThdgnaAYvMliBsXOuLG94hRS75UazggkctUvQNaY444A81n68X2/tTxa/zyNpEA/vnzCGBu19B2Z+bQPRQutendmVHwAV6AiO8Y1FJ5ij9G2eMaXs7LNi1anzSD7V4Twf4+qJpdv3eRVS+Q2H3zVxFJDqfSXV4y3DNIjXhCpoBtiSld1ZQ1Uygdj4z0MgL1RLoaRPs12LyOKA+Fddshh8TTjpdRT70wmjsFnNW8HA3v86AsjKPSHDvz2iRP6mKb3JWn1Mi3Kao2a+T8vfSxSW0qkuihQGM6hb+dCbtx1LOXWMj6ISNhCNSkFaYUGz2fDh8h5csRmIqRSOzsv01hbwUy7GDpkUgcG1J4tGsZUn+UfxscDbVFMWLSf1I7qXLNCDmmciH1C0bnmnj2+r58vsI+Ig4uG+XaPZ9GxB+vscf6npfExG7DJf1HjyJLscy1KSsjjTe4uf25zaK5gS4ij50MT15s468Z59iKTUnIcjVM3ov4Tewz9vxxYXQYqT3USvK0bCQ2hu9WKj3gNwI3DMvpA1cKm7Bveot+T3I72qIFyCW06aZD0d7d/o6/642H0a2EUiZlHmAtOjdISHV+UGLE1oIyYVUjvvZ4MdTb/JdHfeK9Cn71eQx5Iv9E9HfoxPb+f3jHzk3103FoZz4jfB8Hfw9+j20CfE/jPI4tLpkxD3Da2m5eREKUwObQzTTHkhJYi+gIFkcpgxazZQZOO6poidvDd383twQ3y+tLrfsyVYzTA0shzMNjOMLvYy5ZkDQGaSoL62EbMKKhbi69GHLg0TNRM8HTLZ1O9GNB5m0fitwJO5b832XyO6h1WBO40AKdCKLJlSLY/CbIr4caTEtOLvfR+eA4/TBAzenOEjB0hgTFnoVQNQbWxKfHaVs+BJhfSgRLFGWXIYXco2FTE8TIiwEh70PkcO1fsQq/sykc8vhsm23/dRzVa1gOEvI70InE87piZpuaz7ZXQ2C27rZio+savIKl03/ZrPsBZU3dOm1KVLs8bC0JPgWSBaclwA3FR5UF6rpYx7Bii2gPm7E8iLVNpOEmwZtCQ1bQN7gk280tLHQaVxCQH92BoedATCmuQlvpeuH2uM3G66RgEqFLV82GHn/JhVwBenxOYCWGkkX8uNBFJuq9pbIr2WSe/S0LAdIHpBDwuintqFyFeprcfjzid2F3n3DIW81j+CaJWVRi5l0dyXKxND2CYbxXuSiwCFZg/adQ4mGCUu6vDil95clgEf6BTpXaDqGJFrUTd7FbUeY9pqnwQfwjWTZ7qMj6M2vzb5fJb2MNhzfet0BhXIyxRf+mV+Fb+r7CRZS4pWLoXXMnJuShhfNxsihApF6Vfq3q52+pG3Y46Y960Bz0WGEG2/mwMvOQaURRQ/CkPlCzjF5nwKLBjU6fyHaNdhCO/coSWUdxXEe2+9UcSmCAzkJ+O0WMpuUR0zBXdz/EjQ7okg8lrHqBCJky2c6hvWwtyJEOhk1zeb/g2jJxXQv4wBRbWJouHjlQ7aWwTEG5QM9x7/mHzSE1qN6II2uQBJZb9fe3fcEuIzVnKEV4ULJPC6j5AXE2QA8dkowt53Afyi2JZmDhv4zMTVTpTvbKTzDsKX7th4TWePziuMHLiRbJENXI45J2YCASvqGRDdeTvAAGiXNM3uZeCAJemr3RWhVWvmXfsXyWcKNSsUog48XrRo7H7GTrbcRq7JwO0ke8/hzJ9mSzo5BwvWZgbPM2qjSD9vEV1XxFGPkWg68X8cFYy+AfS16hrFzB2Lj3mxDFMvGnMZT8I29fRURmPzTp9TzVc86zjSdvT3foYPlWsg4oGvm3MFg01C2eC2dSHx/T0sN7JGZQMKOf+C1kY4dsZ7b1ddG7KQvjCOrZM28GV5oH2aiBmiVf0yL5bcXv89tu98FozDRI9yLjg3s049vMqA47eQ5N+lPuloYewsVxLhZfPkDgdeP3SLNPeoVFonHkJn0bVdu9ETD1LsvseHPHlchz2qjgpO+++Au275spb83QX7MbPhLIc/LCSvY/4IKy1PUx9p4JL8FmXOJpIN1htCNH5d5tpPXI4cURbwym/LecIY8sfmnIUXnATkMVbqVAvPLkx735kzKYR4upNsGke7zbV/bfkqmIXkpB7yZ0+iEQq2dOwHDTlt8Nwd7KkM2/GuJo2rJCfGgKKt23CEk91xJjENTf8exKSlMQt7feI0wKiVPOFg6gamElBqUJSB7hrFZGZBM2BKqJc8h5AYfNl3/RsI86teC+EoTNoE5ME6Ik2ISOudN2kz/u+a2NuW+5le+pov8xkP0FD4fK3oygIJ9C2nZxC7ni4tyM7Cgn7U9N9Xd+1Hi0m3OscRLytFb1b2oNQ2HanZ2TrsYd+q2tNp16QMyfsuFpei5hs+fy6rVPg+gVtvbaW69x49pins3FLSvol0lpngwK/pSB+uJ1RiwZp6IM0CXrctifiMeukY7HcksTXHtOiesGWZnwhUZxBojgTrQcb/4YrRUMiDFk8Sj083kYHPNBLTI05eWelR5HylQTnSnnWJe0YLv0DBKoI2aP/ux1MIfgvU4BrJTlqEXZk1WYsEZesPJ9LCcjo87bVL3vSxIrpkfMbK6jvEP5mA4KrTEJy9G7b2ls5VMaV+DVe3MF6NzqxG4elozx+2F+3mGYKnaZXDMZ57O6g0UhEEjHbRM2+6hym9unQQx024SiS26owjVAhP6sm3wIjGOFT+/Gb2mXkmBbYFNvrMYk0VMX+l6+MoIMSxDgKx7IsZZblhQpEG9SZ9i6Y0LaBsQxXuM4B5aN6SA/eC9RGQ0Fu3RJUjuN6YX4wL4me1MzWZ1pHuyD0umGmz+Z7Rk95wjA7RLY2V9plA33wkF2NibZ4C1jTwPoerW3DmDscvuIQjkmyC7cYUSrQOqKBn1WBwzPQEQojNa8bHdGlthcW/rOWmRl05z92vPoWAj0PjFt1dRoAAwu+KVig1CQPBUEUjOSk/KjYi0LC/TkT2583YDc0F9aYH1x3JPe/P5cX8nIyvbmfGcSHdyAdFwXn4wgPOuUswNUypRBUXyJo6+7ooVnezDHgrqGvCcBEViRQkWpT7/t1cBL4E6sfYv3cqmCwo6DD5QjtJ0r/hCdXgHTstefCcoaWT6jyjK/hTgNRd3OdQGwArEwlzgxlU6Vg/kxJPP6OfAA/4ptla5o9hb6peQiVbInHubF4GFo8YvofpLnOOv3pEKeAybPdyTEwA5xf2iwWeWa42rpEwxju/cuhDscOfWWQHVJu8YwhNwuRZmKeh//txt5nQ1jBslSF/qqDpsEcUFdhMLCREeyzxhs2/HykOJHaYR9KoPTU76xP5pGJot+tQk6f/1KQM+55N2vESINMGVH2lsVlCEaltQUcXPDhUgQLi1x6M4uLkLMYfK/A9MpLeHUvDY/ey6obtt+wBrb7tw/SE4y1K+7sNraa1IyGPW98+RLm1xv8BvjcpBLVKC7iq1kmkLjZKfBXaUCAdtDALMkY/KC5IqvCGcH2BYzWaAvrPzfV5AJZXevwfWXXqMJ+zbIoi6E/v0eRCCYERpx6AqyCeekwzmmw0pBYt72bI0xcSeKyBC2h7T/FnrkHH9Ax6TgwQNIAl69YZpb9f0GxtwQ5H3sKsm1nNrTT1dY3O5FLN5lrnf3x6J6hUEuUzDr1GlXs1QQvbnDUuoXf20j4r0A7U7FvYbqFjYSkY0jczOImN+NxlqehZ1MxkjU9pRkFBfDRjfVKvJfXZ2fIhqGgcS9+uBVQYQh1HGBBsATWuaOHq8Y5c5n0uVD4HxCK0BP2i0mVsc2PriwtNs5c7d8qiCgamINUSvl1SVrKOOpmt6mq3O77vidEPm+fhRUzbrXEBRolL4p7DCKvMof0gNixbHyPbOUn72VzYhq/dLj/61fmJhV8+nbmXThUXNXNg4s07dz7BrpHxjLvBPfPcoqtfSmrsMkezDmronnq/4mYF7GhyNfdX52Lzp+8U4kQwWVWUgELdR6DoWhMnpqd6dwe4Nm+Itp0tWQ9ljxRYXnEPc3Cice+eOuEi7lKQlDTYVQAEEi3HoYoyU7qMVNhH695uuFynM61vrxyRZKbR3l3mpxCbPX9FYzWym68etZhIgcI3XauLYuuDgOblehGEXyVnlCUlx0j0pyynv9rXwSZU6s9g/deGIowAMlC6/gA641no3DAjxk40WGCns/lanrued2VaLiaAYvcRvBrVo+0q1/bUZfgdxB3I4XFZFDBTWKuEYriZZ1eID340vjqJLb+bUldQvL4IV8sSV+atVBfYExumUUaEcQ43KSVBrnmGMQIU5nPsxmMc+ceRYoLXBwQfTc3otnbD4xd4TaUoCPmnTHuLgqKn5wKWQNGGytrOGj6zW1+PCp9YiPvieRNUv8LWWJ4iWa7mJQs2VZZ+rcrA23sIC+oTgW9xTqbTeh6TBZMf359sPXFNQEPmugUSN/thgJcs4MGE2FWDTIn6Zmnqc68IL+P000OO5QCf0uq1o+WrcZpYQfb6Fp0fBWbDdgfQ2ytgt+gLracxGrS/soIbd+6pO2VFZ2kR7vL5V4lrN994nLXCPUad6xrYxzSuvV1utGhWUd0IqaEVp71JWVZgM4bVfHXWEajfdMEyJh09VjXBdyUMU5X1jOdvyPovzrwpjaAZCW2bfYyjW+4Y2cadutmbQCLwpstAnuK456oEZY5KEWz2e0M4qC3kKadgudd4j8MFwZu3UcGsilEEQX903OYHkhzvh2QlPtEYT8l4nAB4JY0LRY3gqA4sBDkKRJuc+d8uW+59zQ9l9Lc8H9uID0VQ+5nmZRh8KNjlmmpy7JE2/PK8XonU/T5Sn7JAn4qJIKFeLmyDRqryN1exst3yIUH8/GthQh15eDn5JAfbAILDKumt7eRF6KCUkSFodIzcp5i4PM4ix24bkI7yYG2+f0C6dndraK2IKkzdto5t5+ThDIeZpDjbc7JNErlHEdNEYkxPm2akf8NHupCGTUpk9WFI9iznNlNmF4KzFGeb/xzkDnX53qXWjEqL6LYlZMbpNLyNLrXQyZqPwAd2X6iqED/UKdk0sf0PMMOuGGbjaRoRT1qL9Nbcy8H0IKX8Cmw/ZSmaY8kKcuZFPL1SpMNPD//x58lLcgK191Qxsz0FTXh99fqHZlAja7/kCaS9OY3N93Bazi2sNhMItmSQ2zDR6KbJWyksvAWbv8xS1YEzKWFDZrrGaSVblLSmnV/3BK5Tz5I7y6g+jGqfl30diNZk0Lnk0HD995uYN6vpizfvExgKKaNm+tE+yCEH6rQQB/KF4WXomYN3pC4TFkivCKDmFE/gXfOuYpalMJ90gFZte2XuozBZ0KIW9xrbI+eDHmqTazDC9YnWqC8wP1E9bljER5XlMrWSAlyRhedDa4jRg3LA1zT1AL0at+u2Oe0gFsTKqatRfMGmpdwTz+R/TGRzoMfhLl/a+TuMHPGqF8s9D6Ne5c1FUD+CPqq6zJGX/nkSF/rjdU+MtoGCViiIu9llMQbewe69EVxIE686ktpC7AzxtnKX56x0tjr9J1+KqkKJZUhTUhdjBIZYqdB4RM9tGdnf/DCgs2ZcFyajtfYGZGQ+aRvTp8EakJ/SQNlOjoemcK2soa+egKyhAZLZpTz7ORF66/kyx+l1IM7Vms/nJ+pHu7fBSBiCEkejx7KOqWKEvHDWl0A44fchNU4rmx1OG6Ix5t8Op5Is4mehwxDDz6ZLupZ2SwpElM+MWP4SL0FuyWA5G0wZgfvNd4M4u3MmuCfBBmss96+H25S/9KMEvEN2botY4lc9HNOM7q0got27fqWXRjHepC9ILgZnH1Ydl2MohTWTxICi4zKy4WLI7sjSLRJSsUcGo5cyCf0A+Ls8X57z6VwJv0nmCDBjrzB7aZKSAyPo7CZ1P/lz9blU4VB/0odXN3AIgHyqGuzdumzA/vdHxfZRgYx1Ek/LF1NfLJNkmIqKABxrzPmnHQe8uCZa6taFud6RrIgOSsmpqXixDxnCfArlef7JJEw3dLLo4uP94uodVrbn/QrjsZY6sUopy9uB9h+bV4Kxv3ikkn8KeMwadGtg3y2SQYl0eqWNKQUgOP+1QYZVCgSbq78xRvdFffk3vcRMBDG0eEVu+Ia+gQ2jZ1kBglGMxOz6TDbbSn6CaS+wIuQ+TiVaLtKyXGr32aQBr+6Ym6aLr/Lhzy1M+OYaXJH5RVgBEYnTDoGqJC0oRCMb0fiWOaV4qyzPIrGuydXyC1QwjpL9For2BF2+RRiovfSQwwDpaG4LT7vC403asBvjTVuUQrSMcn7pkGszaKnsytRmYpORtn4UB3DV12rMKaj+L9WHNAJdwZRp2w1JmpyL38VbYznhJdd2nsNouDZSgODhmFTKuWNss6N1FVLrrf4qAucIjvzNVeDBBQHc/kMXyFko71qTbRSDYidyrsLuJspBvistcLw/SonGnIOjptwF2PkPtJJvsOH6bUcr6n3XBW0vc5yxxQ3QNCqW/Aj7jPTN7lAARYHNtx7ATKmCyCaKpPOZvkkjQePRv88CRIGCpVMlFpCT0s0VDgCidVfszl23JAOJrVYd4K4u5aYhBT8+KH+B7nRD5dO9jZUuyphiOc5woh+vu4xGIVaJ+b2Hv0ZuT2mqf3DPSHOUSVOYnvimmstLACDX7kmrYPXkEk7WTdRMZfekUWgG4KlP/YteFouMBelv8JmCoBkChl04vjlCI9Ah/cMZ6Itb57bWC9IiDTvTe2BuGfdYTmRzTi6LglqvBBgZXJ3v6cAvCFMtFarGZWmzEea7WEarqt/Rg4VpkqKgEamB3ubjFixEM3kRSdJGTrNtIUXvwQ+QlaicZlC7FpCmQgryJtRyRs8xXB28s6eadwzzAwm0CeAVXMwKh5yyxpoFu5w/5trolavfzY0TcZNRg+n0+Kj0aw+7hbd72gnmwyf6GLRvyCIdovBJc9rRNvsTYRRMCs+B26gAQ7VsR/0ZOpZMMn+x5LXkcrjxb4zLAllY9Kl112q8yuXmG+2KFVzLVv0qY/Crgmv1YVKAqbkGCFm/rbOLPzx7YDlJkq4SLwVNRWqUpvB6BRNk8bJn8J023ptbokVzVUl3NrS6Y4ReEIhocnUwq82vbiX6VrpT4X8b/dn+L7+KQZoUOoa6/niCBausgkSfEV9xgH57OfrSmZqe134WJ52mvDpu90QDPoDhrg+g/TiFyyCBcnUjaq1Dldhyigm33i4JRaVgyiEFsPlGHBmdknP0dCpbkrYKihRmpih6p4UnYbtzcn7PDvpeEhFtrlzyzUs/poWY3YllP1b9Wor1130GsglnBcrJ7wrt7wp6laYsQSEBRTkzwSx4QHx/WYvShTQf0fmosj7mJUDTUTap2PIkBF/uNM/rm81gLfeyvPutWz0/iSNLTFzbsuVrP4Rjq2s2q+Xx4wQq5DmItW7p5yiDRK8Pjl6EnYjHXDzLD5jBQ9gEwnEPdojq2DV/16170I/A8GYPqYtiof/AHHPFOPjBghjcxNw1uJ6yPcOFo0FDzER/pFWNJUHTXbuzoI6u2xLl0jr6HMwNjqzgXqm8X3fejFfKLpRRXECAOLghQSzjBoI1Zpi417tFRWwGNpuikbN069+T7NgNAYQntM+WQ5BcWkmiblufaEVqR233nb+5b1bG+WG0wBRBFniujhqaRcBCC10xlOOFI6PenTr4dmhQx8SloWOGJKCEtUt+U7zPEVF6y5XqiodCi6ELtqVwzZMSnh861LvWNZh5ZVqGImLhmYArLBjTpxkBmRWkzYQy4D1psqKwxVpVL0FDKSRZRCXX85jbhkP9i3B43H21IxvW0iPLTNgJDPwvWeUfIB02VtIKGTox9gvlFAvKs0uqF7nmozC8bvjzYaWgWLbv0WL+Rt2DDtam9u78k18FrjggytoYg8s9o2jwKt8OghivepiE7vnGyNB/Jw/Jh5Lplynakk1oXlYp0vG2TCBzJcN0YyvFyPHWjUji5ym11gDYdMJSDKp7nLwWGzNKWXEGeNBnJ9QyUOhUX7nIqIJOtSQz/rnYVdTVSPwfm4qG1c1fwNrP/ssqKeyHxRSE08yf8X5PhJ2/MoRO7wRA3T90ayhZWDMPfe82wZ07HEADwudwf5BRz+Pqy6BEf0zbi7DUUDmGEvwZySFpXJB6FbG9kwB8OwUDMjmwIxdjK56opWGLNu+iXU/BcAfAyidyEDlrFAh8iPmfm0LtYpd6lr1gNKxOmTBVekANa26ak9OQwsgunqaUJ7cr0xVICCBqodu2EbVJZXYczZB41+1CpMKrfGotqgP4Nh6qc/bimBb5PBxwU4zaBdpuTQeCXHWih+YI1T/vE5AXIEmhGreqE6DQHGcTdaRqQviAJAtDcGk50kBo1LgrE4XuLBtECSt7rXZCj07vngYcy2RX+YtRPwyK8JgfuyvBGFfr2QyekCKPJjyqMyVfTX6lhRqby4BiWh9MlcHJgFA2FUeMpEpa55SNDQnfEeNFwx0RjB4E6FS7PCBaDFjYLIXpyp2+7DddPahALIhRTxiSVwW0UJgOuonc1aKMizI9jUSq/KO4VxtKB/J1Dsrr27V5xkDPfiRyjG3/jCUpjfGpHDEGuehUVVRaFI2oipG6m3A6AjiwJ/96PDXriuA4kTGuDTzz4bw9rCWWdncrVTK4QvcFZ+PlD6lfCYm733DdcthxF08JYZ7Tp/wdeRPG3fVggsZ4mlPhkDuXOjbsXpuuFF9mWoTMFeUrDuU9Zj4NKUE5yQnCTviZKoSiskLpx1PyhyuuvP9C5va8fHcsuX1077q+CCuqhqmgUo9VYqdsSL+LnwfNnyKjfeezR+H1eDmL8ch5WIS0QF/3RDGC+eeUhiVgebEYPMHBjlh5cVuvhiFy4bwePBzl1yK7wdfuxykyNsIfVzvZMXf49o0SE5ysDmeYfrWHRqCTCVco5lipAG2k6/whVCjL5foPcwX/V6lGrujR7gMJaykv02+NIl/uOYGAeIijgGeIUfQjkLPAqC+8bEAiFLEz15W0wrDKFMg5n2OaMeUvD4vFM7Cuxz4Er1aATB+T6sY7JIbptmdaapyjMaUV8ALbiv/eWH3fv8FTN0Un6toTmXPIZpJiv2Oo76dWPL20RQzHp2xK3SrzLbbwWGGQqcL9N1SuJ0eLSxMeFbTmVlXrFxPiCQ8zRgmu/SsXPztycPT8vhP28ADMTbmUvYN86Qk/S9mSwClZzSJYbP/U/dPwcT0y4Hd/KkZ8cUgU/Gv0JaXVL2nvms7j9XTcLNnJEBws8IXhJ7jK9ySY3EyDLlHlOZQUKSh429KR0WwnfjCGv10i8Kxd218Wv6MUutYmXzGZaY679HSjqsg7hyRl+ttjE1F8MJ9aTOy15Je1ReaC9oollfCKd3Aj1PoFVkc81ChCXbC0ytZDpOG0sbYII24+CcN7/H5ent16izX1/eN9yY++sQmt/cj4JrRnzRPDxagYsmmTDjJszgA90jFBY9j1Td3S6jF/GdR9atbjcR1gMQkudRzoOsGHzgg04mu94/7jHUYP2m2T9JIS2D7baI2EcUb1IRFbuBi85dEDbFKe14b67bZJ/epOtvQrOFxYFAXruvCyLUz/Y+guNIPPFILXR+jE0shbN2slIDuYvSGpweaAI0hkM6Y+1604yWrORrrkyh0+FUtRqObj2zrEtPmpFz8taOusdmtGjKbWYtUlRHkQXV9a3X7wTozlo+FVIXOIvPJ0v2B7bL+kVmwIqgIRnGT5Xv0Fn6gqA1uqm1VMyo0wL2YjVYCHlaI4JS754uM0M24BMzuABhoHoYgzjY/MxhJFL2tNpwozmTRnaMOVPR4ZTZun9K+HRJhJkaLFdO8UXkNHQXT5PiVQ0y39Sex4Y1YFWPa254AcYI2TN3hccHdbqusbdpwsXDjiMdbHAcFmHwUhm3PwEVTrwnGhSPNbA/RPAEGcine5N4xZs6v3Z1pnXZGy8LVTSpKRLveXQpjuxIhR6I0s44eJxy3IKf7eJ5JBy5raS1UBPAzj7y0aWceIQhVOC9tsz1H/hU6WRDYmUQJpOMNS4JrMeLlOwxccdHdPb8dOKWxMwiE+7EM3RsxPC3Mg73ZeL9yKd3CmT5LGR5iNWVLpbpmBQHc7M0KcnnOjdTSAX9XN37+SOG21so1MrStTx1JJelBeE45S7AvViiuyEU4Bps5AqhkfsBbGb0N6HMwXH6v13xdtId7HWAghFBvTlJq33wMPPqXPK5kFYl9nt0/Wp6qqKpOmEFNVC44fL7zW5Gha/p4rblrqWwTj4zT8drlcTYeKUhdjo4VKqz/qkYFaCyRY9Q6Zl15QCqAHsWP9nOxdq93zWB6zT7WAn6hXpAde3mS6p+BwDRbYoW308r6oVjigHjalJdpNw8A5QZAEsLkJsc6A8f4f/edhkEfpEhw+Ajkq6njdF2iHTQZQxUmyTUWkRF3hgwfOQy6fs8DvlZzbkon46ZZkfKn3meuijvKRvlxZB8XFeDTrl70FOsaA5X8o3zo4vKsEh3oUWaFV+/ybuimaQlfB6iXB9q81WRCoKneErSWxlHouIRpY6m6fQT6GQamA7wlNlGQagls9KkZdtLLjft1s8CfXv051dT+11LGpIk/jSC/RMfG2TLv+5/hOiBHewBeC5ldgMao23vm0HpUDDDfw+bfMNtQmUdvo+fpJF2LB3ZnkZ7c3yjr3xq0caD5AeAHFNs2zP/N/Q4UoQ7hephbIsTTy67IjKdQO9zPrZ5eNERaYmdmv1/ojLejs+xMpD9Y5QuGD4mbPpvLl5DSBj9HrPD7MI0trLWJ7vWUExVFUjfI0E/V4f57ALgk3HG2acbOgkdcDdhK372WjNilZg4LiTAZZvpeNo7diEzfV4UluLCteICdUybAX3d0ryZnG1mM+umeZOf4vyqDoZhiX8jzpLVwsWEXDA/BDWxk97hkBr56jTXmAG2eWohBjmIzCcYZlmJhg3eQ0tdKz6fo8arvK/zfDFCA76BOaZzmua7n6tqbLfWpE5uuKE2blQJf0GbHT+attDWGUuEE0ZmTQ2yc+6X+OpskVsFFWAsrG579akij65Yite4ODZtFnSw4oU0DeUIW6Rz9drUS0vtqm90OX49yBZJ1HmkcVJsxZdaMrJYf0Eom8fnSV+y2Dfsp2DByLSsLgofC45saelFOZAh5kDM01zly/7+EJDswPwpYhYTnKhmly2cZz0CunXtGZLs2n7WU3tvtv8kUK46tUP+27FCSQdc3egIWlMYWmYfFFW2+fg4g5jGCceiVo5z7VhZKltIyQdlhcFDUrZn/PJETp6PNju3rDvFgmpaDA2l8xtVeYHnKB0LoYaoJPvp89LzKHbivCBwCAZ3Pqc6t+QMWvnZ2S5JjLDY0/W1C6L/opSTIKVR0C6pRbcvqSsCwPup/5VCss0ziggGxulhfwmQnK4EWgvzVhZWaUqrYwP6B07x2xzvaxXmhUgmAh/B0Ne3b4TtrqWMTzfMi7Op4ViB6g35HoiKVsJoe3xC2DLpWenyuMqaKpixU+COoGPhRqYZ3pxMSMCL+aFH+rZZWOLaWuvR3fy7O7nL5OibyaJRzbbm1tW0OGH/cg+nWcAhFWMDfmxH951JFASkzj0soiYxbGdpJf7o2oOjOyJTNBnmAz26cCD0MM9rmCFMZk6qNjV814aKybizmk25ZQnHTA7514q8zE/25n9ooRkNLemlpcx6JhVnTgVbUfBChf23G5WB35fLgvcC74yy3Rv+qVItTAd08bgD7EJ8pOexREPO8aBidFcuoL5kdSZTsDqJSD2no+LJCW1E7AcB0CuILl+vODsRpRnEYdyFEh1TDsVTpmYJRX3Ma+b+rLnKxCJ64vOeYxx4Bqb/3Ypx6Rj1YSKMDnLELe/fTCTHJGx5AzvVx3QtgSpdY+8wVXvjpHwJZ4uwf3ZjnR56wZelmBfLDaEu4MXe659MrsDXUkloFsTiZnVdqC8kSzITyJHcYSYy9QeKCNn4EqBh1eqWC52vW3sCZdtVIlQwuOF1aU/g5Hav7pa0byTl30vIeLgUxxbWal59m0ArSz9ogPDCoKsGTBFST3XGS4bR+OFGnH4LQZtH5I7hIz3jtHDurr6E18+gboAX4hobRTSfDVMbGjbdRSFh+zRXuFnpkBSDUUR5qz2Jjvzy6VoZBnt+qCCS2T0BeI6a/zaByPgbdg0o9UazTSfsNvGDY2lIPysCN1knHCtpXitiI09C632oNv74DJ4E5w4xdBP+rHbNdCZg7YvdsjaEHqvWici6qlMwd8MOZJ3t+/scnHboV2Kel3RK0XXhWXV4GTI302A6qhA8jNSZN72h1Tx7Xk74t2B09Gtb9rPvF1sITlKLjRpxyFyPo8+6B0c1gTU8i/6flANaVz6Uql9ebSE/dQIVqW4kNQTEsLJProMPpMQ5IClQMtAHlLfXKAjTC0kFcUwfx3vMg8eZ8UVcCNb8UyQSl7PNOvXmn4SiS75U0yABX4ITnX97slzP1PAMj0WLJnVY/9JuzrlJQiE3wCM7PzCgs0/PHXh4vIbLv/xQJ8J78siNk72ldpb5WJ+qu8JLjZc6D/FyP/D4eGK0TzkILM+Krp1whxZBbn5TUk7H0JtFGxs6M3mTBM4Z3/D23iupU9nSEObTi+BhAfHHcRsxLEIRypu2N1Bm/AvQp4ThppQxckWO041qMSBZ2p5JD7xa5DiVtFpU9XvP2ubwvEhO1s3vNfp7usFmb3+25vzoc7s+kQQHkfZchhKcOm5IcRr/Im6x2xOc3/qaH3AssSYl8iI5i5+NVGX1X3JiOI2icaVj4TBX4wWSV44/a3HdvbakrqAqF1XCyVjjZraQhbHdEFcIiL8/JKJFVLgfOGgLPT5xhVr+6OYLvLDCtZuFR3D9a1hIorgUIgWkox3dKQ6QmejyO1psQ1nclPiAVFmZhC7lWoUOh27aZIK2GguGfbPCLO5xEvFTj8cFeMC18G0jHYZ0czJ9u7kOeksiu/f7gDjwelUENn6K5xP7rt/JgMHDbrbUcEuj82jJn7XZ5z7m7XbhD+78ADVRxljEwXQ5In8m6lnnN57CeZcs8l/mnRTEBH7AU7UQwDQgR/V+ALMbohSEcqUraE8Vc3ZGhHahXfZJfIekI5F4d4D9qvdpM1U7AMCrmazV2F29ikyqispaxD48c1YSeSR6EKk8hl3Nv8cLvXtoVo1xT+MrOVBbJypfxLgcQKQl2LCI+6zEIn7N38xwR/WnN+beYkjEOoiXtecaRWyHBN+ycy4QRc+27t4oW+QMC9oWNRJc3Te0McSrD2qpGLngaL+3hGIpBnkYBEUsQc6FTFe7nmDpJvthlwPUc+BJX5pNVlKq+zK5P0lnwXTUfc0sX6ZiqT+yvDxDEnf5/0lOH6LJqoftTpEuFZzGpJqBWBKSFjmOxRggWUvsgRO4iEvO99eLRn8MQpfNgnCDdYNcm2gFIuvsGCwyL0jM9JWiN1UrTeV3RsxtjyMctWNAEa88TPNPRukln2VLZRMEDoO6m2ievU0FgasQZKMxQmEIx8TghKhG+o3MCpsB+cnsFxQ/Ts9DmNwPE1z5j+pn5vK7IvukU85fmos5J7Ml5f054Er9dBhFOsFTZT6mMkS5WTQocfyABVq68RQ5gUdlOJpFTLQeWIXuNxcHrfFqnrG0JKovK0FSfSPRbRpH9UZPv73p53KyLjWn166caW60bJm2f8Qn2vUivPuvNeVzkMcEzDI5IA1K+u8wrKE7A7K8x14pZ8fKxEsphsql8TMxvdOTu6xoDGY0hvMEKXZYII1NRqKtOz8QVuCt91ePMt/mRuEh6rQcKM+wBK309eGtHoj2UJSrqoYuqhv63VXgqTPkAd0fVgiSZq7mWFI1vPNi4YaSz8dfaKpFX1eur7HrSBXlP+BI3M5lU6YdvGhHiednqNNjq5G8xB/DzzlUwC49g2hqOX994OX4LtcYQg2uGnoKSZbGDy1t8R55mV2d/a4Nf3eOdvr0i/xnwj1CDcQHhwUZP0ilKVzgvLDNVYg+zVEKn1DpW/vP6leWjiDag02V44jogzmdw3EltQI7JoAteFdgVdVz5dISErz91wgiTTYo6pofolttecQp9R9JEckOivLdxDs2HaXHSIk1/BHJbegQmFd9DzJDDBaxUrk3CCiWOAmJBkBVGMj7H32W0DFToXTQiC15EoJ/vtIm6NxVcrOYRtTyKjm8HC/4fNAf2ppN6RHlifI9El6dThdiRmF5CkF2wK7NW71SKf96UrP39Lprkh+C7qa1uBHvGE76YOioXfCdrfIbdemdjWde58bJKTXqY43DcB5iAdoyXH2Z5Jb6jn2bmSyrFFtQduU+zjmi/FhZp+eduP82MSO3Dw0YUTjtS8iW2zb45JV7/9/dOJdSMb9ocbL3w0tJFKu2dB5SY/rFQUwn1IKw6piws+V0KfmaKgkg29Ua0+8YANwgQ0MeK07PhXJ6RkR6owlGdcpyIoCsXTGYYHxnTBt29WzanQCLs9AQmDOowfy833S21D8Yv7Jl1aNCwB1FrM+tvkkBOnXOdg8RPOWhM88//yt9w+m04yTXALHfCGgnFPDrNC+Rf5AwTPnq1OpbugrE+GV0K1AheGOv8wckr7qPH4dKmZmeLOG9eEt+uIkf1JCypuwtsbxtPIXfeA2GxYXwlh/O+weS26z5mOCG4bABraCTaaW+HNL5HC/P3zrgBOIX5HgAiNF782AKz+1+vyhfZzGBAwCRO/z5bkrT+SOWEEuqAuIDMy9Tntl03CFdvynm/StiG5LPabtFBHbjMIPgvt5J/j61wR648BLtboQxiUV4vxNH/KRCa75MZMe+OBmrm+Wth6WIDV9S0727VLd04QPc+pc+ssq0axFSR6aIDbgQF5HTyfF2kIpnQgqyuulF5v3h9GhaYum0HursiRIIEOQBd2v+dTy1tvk63SxwEwm0+Zp34cGh6HFVNwoyUwieJgzLK7ryHaSxbNW/7CWpN4238W58K4uifaFbzZFD4J+sq6/NPXe9F62JtvwyJ1NqA0BBELmAJASJSYd9hzgOaIgQQWybZBw38+rjZ+s2Xge7AT1RJ1ear8DMX9hrVGJ32WR5/g/pIljgYGNFeucdaC0ojXBnGJfcbc6MKfidutXMuhuoS7iSFS+szmFNXGWLyhaSo1ycafyw3xtNJEQQsS6BGamfqAl0hjMjSVR3HxEFkjXUCMVTRMn+b9RnnpCPPa2YZeOzGYX+eBvVXn98GEfi3pTz91r8KNpmaDlfDaz4/MGF4pJm3vsK78kokH7uPIHsSOu94CjSRoSnDsOqMeGpvf3sRQWzSWbAvvOrYgI9vZsAsik+wWNeT8B9LYdFQTFHfOhY4+cyPPYsa0lvlbRyfAhjaDsN0fL/C7d3+wd3ohB6bNRH3PrY4F6XinkH7+ENgw751ZGHCmwdnUG0yBuFa3HS2ZJcJ5d9SGLCOqyWj0U7HkmOfSuWjPDErkw85/QAzo4M+AygU0EQ7YAWw73Cd79pED3ZfdNC2mzPeI0142tK1r24iH+IQg6GQVGoJ3RHBTt9/x+Ofl2Q4pF20j3r0b14V+UjtPdaGUEk96gwlHz+dFaNpe1SB8r/NuSS33YvFGB3w0Qptk6YdnuHKxGQdxywGb9eaXYV5KmcK8d+DdtijgdUCcY1z6YaEm2Ltjkp8kn/D8SS7L66d0cA6yEoLXwQnPg2C9ATDgMNAv1Sw/zYc0nc6BEIQpl+ZajGYhD1ma+fsNyCk5uEq6nqvfMUFMpDwUZM1LWkUhwSGsuo2J9OlDKqyn1sfZoUY/HGEDUSlTel23zsEc4coKR+lZzhMGIXaw5lpKvd89Vp3gYQReZ5lTTI59X6x3MunGgmmCBcKjlfRTF4co1JLYs0fdSRysWDh9BGErc71M4t68YBqN/XGoRPtM4CW6Y1Tr1Ki8VzqzLXwpxlkmxAFi5i/5AnDkfkZu7BjHndgtCT4LQweynrQ8p4gNFCDk+4mkqpQg52HOSLRzSFu9kEp4xtQqM8lCDf+7ekFbL6m0+Bm5Bim4lsrXzSB+/7/tamftEI3RTzmOKMIeXbQdZP9EAzU7xylVI0/166CywyuIXaEWb7idRB1axESG4j+5iNAtTbgYuIlrnbIJBPN9Rdw15guHBn2LOW7bwe36mC45/6Go+kNZc16iVSEzHbLMJPOMR6PEAytbCsST6RgWrUpCu5XUQCl2Hc2jflnzi/SiaLirV/I/kXhNpIpL0dPZ8nUClOI79EVSPFhXEdN5cKRq4UTY6jval/60d+aIkM6YK2YKyhUlGDURxKZsoiLohgd66E5iALCrhQygI95rKj2/LV480Zy/wfSGEvVSxr/YgcRJDOOrp64cVFHnr28HIogXXtoHyb1YdMXQ56eY3o4RTQDwrgMTOfRNxgrpb0wc2PyF/7GIdEKZOopfgjsc+18jnawDu76nWCTX243vip/w2VmUx2mPfTxBG6WhXpxVWzTgKEPiSVa0VivVqDvPmZKDR9DGy8UNm5A7aQ5CaO2V6QNw++Th8AIzoju70H/4vKa0kvOeo8AaPtddNdbDN6W5l6ZjDG6TpBKTn02MHG8qSSoX2kmUSv1kNuapTEcl5Cxvbu4RnaX3EGRACA+EcB2To3jpHCVT4q0aEgN+cokbyjpYjD7EpS6zzB9eQiuuX/BFQ6VDTCeplvMUP90/z1ValHO8ILlsRs2LnHO4qunK0VfAA+2WEemOIZeTuI58+bMLOXK2VwHOqwo8ZWvbGkbtxxd/Dr+xrb+AN1LOYjA7KLKJYlz/V8dclfOlGeClR2DfrvYre2MfPdirwhezaC31wTgWh30tezMurLg2V+BmCR/MmbfuKGqzR8ai5H+/s+46Oizs6i/i7vcphIQ05w99yy2sW8hlssjfY4+I2j5NFbcmvDYTdenDlQw2oCCmBDlq2vKS9SX5E9F3JeTZInRg/4FZudQmiNQDvDehEkVDhhG/4Q2n4osmw0wyF1ero1SX6o0FOWZSeQA1cMy8+NaPKAX3YO879v+Rpv9BKGVEeFMGuARkujjZ3OzQDfecUuOqom6USqiA0+VAAxNnnpmcfhf2naeJ1ZupkvikS5xgdkYtMuOvuVn3p+yH0GHDEW2ve74lDc9yLpSRcunzVnFhdDTPdQkqOgskkANv8YiKR47ESTatXu3z3AqI7SR8T5mOL2IGHc0D4g1uC9mbROF65Pr1on/Phw8N6SKXh+IzCoNZkr8sS+Y77CdY+Mckq2/C8tHlvx+N1hptp2MLEDPBC5KOo4h8fm1fd47iX97kFty3FCI1ykWl3B2ua2eQ5p8GiTYguYZSmteiq4mSvsUKgZzpBTLnTu7aup699ISPvd/5xfoFBgbusUcD38VuQXwRgbO3g4Jfr01+Vf+mDiL5gkwLSuOWqE0phvs+UfWLCWoXnKkaFqkN+i9Cst9lpqH41kK7KyHmK7K70g9UloIZ/3MKt1NzNgNYr/X8zwlyh5O5Rr6jXe8w7AAZKbBoDVG6042uFdafu8sTNiyurGtWnyFjzbvB841OvuC+8Z85ea7tnWokPJPoORe8Zr0Uoic5QyJ6cENNvzy9tAK3yI/hz9ENJdInd7HFVtkuRV0I9it8+IMXs5aGMSzYutMWsJZRGpy2jiXgvV/5v/e1nIgnzHCIURYLoqm6/LP8BCHWORo/zUC8Okb+XmnsqmeVlZBQGGJCS2f0/DuRj954vf4THeKfOQOHA3wDifrgyy3KWnl6R5+IOphvaBHnPwBAYlA0pWTHoMOpGC39MF1XWx147xaudSFKZJC/ciYhAv5+C3PNN1ZcL3fDtMGy41XkipPc4Gyj69uk6y57SakBkEwFgKu//YkwHVY6wI+i6Fq5x5YY2IIUk9Sb8RkA0aRh20bvNtVsU9GL0VlzPhdfZPxsVv2qJzoaMgpjGyPeNlxa3SkQUXouQyHxvr3ftRMScgmVfDZ/8RbWwf8ytifz7LQnYw0RG6yd61SRS55k7Jw4o6WyrBpq1y06fp6uXcVlT4Szr4wt8geOgYSXUDGX+PYjcQmHb5KFY5BZ0zJXnxh1WRh+xAdL42M7YtlWOmRIwwaEcgxJ1Cv+1mMsNE4rCmm1zZgHBgkDjxiWE4Pnru9xYoXPXMxOwsm98LXA1phgLdF3QDQq8TKh1sq8gSX49OjsWJqWeqeRy0GE0+FR/I8Wd/XiDUKf1//EjkBqZCEwLMHopH/Pa8gNGdCQsbFoJ7WlCFpAcHUM3twlirzDWE8uK86Qn9qHsBZN2KM7p92SM8VatzoJdm9nAnbQxZtgPEl7+Xmgq78UJSxjOW7uBR0SOF1o9zlzbxHig4vU/3shGWbeX3pB5u/G4A1jAtUzpx8Ylc1qX8mmlg5IutA+bYSxYwb6e6hL/nfOestVk476yylvI3kwKl7CXYKSCzDw8eunyU1rC5RAOIDPj+sllPpOS3sOCBd08DR+msvleW3gA3zyb0qfBxYq+CzncY1fHnHRWzGi0VvmM6fy8Az6FdPMO2VR4mRSmC/wJpE4zVTF15ED+m0+x/eSH1j8s2KTRMFhkuYNGqaqDxYn2MjB422snSoGld4Lox4QiuYtiMYrw80VnRkuYphyTjGEa9JbJ0/Zrxuu0c4UsrWYAQkUM/tABQbxI9kOALU6ULUhMt93+qVFw3ly9Wnml8Vgad2YQBr6kLuXneQcuUOlF2VLvy19yi2VbT9jpDf5NZLCzVmJlnVElXfhItHOA64TN8fvF2dQg91Bgk41Hsjah1lx0mZszc1ZNYCc+Wdf7qZGMDgLIPYatRA5/Lpg0Nqbw/wqr8auYzQ6kNGNjUhfGJwujpIIAESd/K3ccUskMPrE+mZ32l2g3MyIUiXhyqwhQqhKK8g3oRLW8W4TkRl+UxXzUpP+D0jW19vEivaFpiJHfzV9VXrtQ2Pq6JGp4NRoC2CC9Fi8mfdameQT7ZrKr0vxqKE+CvZTJ8xk+nP96Jkz/wcgomJJk+qW4V3ru7ImzrfmrdLfyP9aWxnCUVN7O8+OcfweHZa9RESsy+XvjmPIbydgEFIQqwKueRgPKqicvGLGplj721rgPMR1PciSawkT/hiTVokzrUYOxEFVIItAruvBn0W4fqYF481wakuAfLJ5l8S/TVhI6M20jP+zsuz+q7GRJBdKD9puHZLROxBbu+hYi8lTJYH+lUJ8AmpNTaEWKSYg/tvFD1UmUdqOjFpJz/5hNG3q78MZeZwijm677iZgDbJT/OUdYFo8TM+XLNa6BBWaZxjBQRWuQiuh+oJ+SAXoXHkYyu6bjdY5ffVh5nO4gT8R9iqDrsA4Xem0s6kT3Zum09JqGZnDBGjYMI5mbSZtHhDy4iFVC8iJ4b0jfzYVzXAuxABAIbIYcc7/HqvVAR4YHfr8auqXSPlfkYuMQvrsjp0Q5coMViw1rpAp7zE6eanyeKNCYI00PMzSzdLpXVEJf/Xw7TFrqVGjfLxPUPETKKgfdALrAzXqNJHZ1zW5V56WxSjO58EBejcXJpieLXUNg7aJWtPKaGmw0QPO3MyS1yMIiRa+Df+JxHLv/FUWQRA5f02xC/P2PaD5PK/fvm9bhsrHI+8ca6pvGohtwvSJwZum93Wd2jBnEXk639Nh1VGNmpt9gBkAZDkNwFVuGbX03gk3n9kj4PhCfz+NhTPevvlEC/UJREYqbU0Ly9uovMDhd4STTndxgo8M3ogQ1HNtCNgQ8hevGpHkJU/DEC+Vg0UmQ72czKqrmvpRe08H2j0K1kGZrjju5M9iHpAelnEdTy0ksNFYLcBD7fUZBVvLH8cqivaWbHwFDb0oPVOYWj54Enha8DQ73exIGH5iS2L+aOFIHm60+aRtU1kSryaleH98l5LPOMT5tsB+DpURjviqzJLKAopvK3vaLEUCga5wNkb06djCi+FQO61oi9UTmVn16F/E2OK7XrlnucBPwdrUauTOQJ7turSspjC45SHAmferBg2TuJhtrjLimB8fRDJkdVMNdzcgtasETYFLWuSZvJrJDa/hN15j63lI7BXxvsyZwEVUZLzPEs0D+8QTbzIPBLl0a1KaRuFZhVmeVDB+1KNSD7QxMOOrMsUbWrr8k/v19eIWw+p9F/eNY97lGfPV/KVzrCn+qX4MlwLr+Raap/YLlfPqgw5SUrEQLo+sArEviXM109M1/WZQ1G0rvyZV4RE/uy0hvDZ1HrOHleejSXcxAbWKmsn/K5h5w5dElJr0LYn5dnvEgrd5DioytgGjfP4h/o2AJse/VJ1kVPWt9FRFcai4N0kqDJThIS4AEnxhY17wx855Dvp3+Z7eDoU7Tmz+kDmJ8YMA7QKwfQkm3WsIPlrTJtpDhHttqTW/1vT3LHCTzvBAbIH9EIesGlZKhAANE0dTYgytrZWoGE92Sx69yoFy74Bg41YG9S6A78cQUSwsepVORGrPgxjbWrbRaKfy8/qp1MIhp/OwEiQNP6GdETPk43bTWqJ8VKQqT/aBukffE6frnKxcHc4kpaVJfBPYZSefPqvWFeaWtCL+ZUPVAq/pdoLqDtS7PplWOqFu22yaKWe0mrOw4R6igT05B8pWM4kqtzMmxtWP+ozETUY4olbKQhGZKAqa0+JQlqXexwPLpc0sZywQib/zzgdykxsDpwoJeC22lWPJgELV3KESbSpuKWoEPBn3C/AmGG5h8At7p2SL5CTfrZEZb4T46fZzqN9WMCLMEOszUbtjjCLqepW8fcwhLSZDshCWrdO/yn9F8O5TenJIztlC4fqz96SDqeHRmGugT6Ij+AsRKitOoVeRrtY4CtEBgJDZZv0FIjvWYZpIOpLbCqmZfgX7QYrCi7qsbaytl+o/NG7d/JB706soi69AFohJlgduU32ynQbhPm5xAkS+lycIiK4Ay0tkDfeTpF+L8kBWaFgUep2bdpgUJW36ihXzPUQSwJvZTdvrTi2pQLXfcbrPCmzKC6fO2KkcHN4LB1kacVeOnnX5lsKlkJqNZ76r045NMPqf0zDkIGTa/SyVgqZp38J49FrCBtGkXjQNqJteJyaPnisask/XQ81YjI09Y2VfJ2IqUSai5pbeEgt12JeVc+8aDx0LWEihAKS2O2SI22F2dEv/XmUJK38913BeWhHW7+jkEcgpWmOQyHFOXOpV/fIHzQV8EcK8WxQXGQyzfIFI9D7AKwXtYjZYeTfOIkfqYVzkCnsyo6zvUrtpYh+XGBdYmsF6JHqi9D4dd5GI6nXu49EIEd3JbDbxyWoi430gX1ubXhTjwuYagpktm37Tq5e1fNVB0gtxPZcA7XFqQoVROEz7DUjyJbE6Ktamv6UXCrWXLPFARnEjxZwIh4yrFmd8BuLopyPVVQHHd4xzmYe8taWWJ7pc6LrGPUMzUsVK93HvRJkCE0b48Pa0MkVADZicSJMxsOH2kPL3ve77wvJ0a8nkMToNTiifMklb4McAR7sslXLIX24v6qrpS1H6OMAk135BOFqgggNJy76/JyBq/OOwE71Wiq1hfX4zYrx/j8Ms89t7pzxVml4BFZp+izSYzRCo8f1DYjrS5JO05W1r2D7R1Wh4AQycyumT8RjyLKzFRzB8Je8rGG4798WqZNuzMFAetRm1PqmibS/8BfKyLPr4CunoTb0xUEprCAoUnjZQgv/nWfe35NZPKevIfYr2qHp9o5imy9mZfr8ICbFTwNFf9BTCOwqTbkDJVb4VIVwzWav92XkNk7CY3Nsbb8lshLel2MdFN70J/Xt5pWDuhSKO0px5JkvI/Gh45OojLuySR42o37s60WE2cZzx8e8EOHGrgfILbgdZGjPej/Q3iMWVmV+D1CjpuXKSPGUXzPAebeIWbmrWVN4PN9ZI1RpwEaHftIKf4AgUbuX708zGQlAVzCJfOslov+KUsqIs4RhLHXGcAHTnYDfYVZC7Aw9Vrh1oTipV0zaRPGzlYS9+U1DvLvxyMBVhG9aHrGkcrzl5X6wSGDzLeeQdilI122CjyOt0TjYv2ztq0plBlqLFenmkO47nYh2Tt2NCW/6qSdkbJr/DGUPzgW0gxWVS3SkA0y54wq1R+4ONpkkKUdyOUYsmH+XU5Y9AhiYLQPy8F7hDSicj55xiDcTPeFYfx6WFBi8q0uvdNFOWGtIh6bzle2gyBMtrcn3QX4EOnqU36dBXONMnZ1kzIWBoqQ2EYJOl258GrNtfMPJvoLIeBfxELbY9JOPln6fYuS92yoW+F3AYdU1gyaeC5H/OsJyk7GJBsqsAf29aYnWX6g0YNR23bQiUAp66j97kWCg22RKJpywcPpaYPzzEXjQn7riAROoKzssrubIIAWr3rfaKBLD/z14Xxdq9chvc5p92C4XdIcbTNu1GeIsTVO0YEWbrR5H0Cb1mMD2PBIhJhsE9YwXaQT1NlIBkou8vQS2IwLMjF0Mj5DQKYOlu9m31z7ofAyT1OtsgwIcEe94vhIEJNgIj+KCtpvUedcvKKOiFZeNAWrcodk5wy0xgv3G8sb14fJwDv8U82z5Lx9YswOZPmerOAcQ2pnOOHcj2lEEAjD3+sFCDOZ0gVqUHFvBULBzrMcaENr8IOPRSz9WKn3xAeqtkpSWIcVzBoxdQrnIylk7ZJAPfQ6n5bNsGI7rIXqwjkZWyuZAFkYi4Y/KeLXJD14gnQm18KzjSeUih1L2KGbhmIRmuPClAPHC6L8EUjF6Rwq4U1kCrXsM2Yk/aA7IeDWnUst6FK1zloQd4iwspTMa1oQIiTuKh/4YajEIGhV0IZ1Mjh1lXg6DRlb00wWG1fTzpiM9Tu97WaLuqhJwmlXVGDLxwBPA07N0jiEaT+wOK3lzZY603YpKMVwE6byaj5Z4QeGYVXqUV/gIivjKiZO7Mu4jfsrkHEDf1ZpOr1uRML68M2fSs4Goqll8InaVXqWaY9yV32J0oCCVcOZFo3tmiMeApWxjTqbZit/ADglQMgBm22CKeO6cD0KatAfiiSNw4o3QGhlGP1ql3YBtrQDQJ4YWu5PK/zEdXkicaPM06YpnZxA7P2xq5yk/2KYLgqLsuwkj5SRfYDYzmk6GxIb8mkPtlaM3/ExLH9TYWI8Y6oDkrqDHMYoTCM1IN63cncS83FV+YyMM8yqCCNXaKAI1ynhobasBF46DbBy9KCZxH7f1PUnevQBGMto1kMcAXMcvqN2/MwpOWNgzDDkFNQ2UumllxW9IIjILmLLe43cH9IxIJ1hYRSQaNEhqnDlZrhPrtKvhN7iz/l0bRp8F7Mnp2m/r7ZfAsXDAhRfeBKJWxnzT8/vfrNuMf4k3ZWdwX6JV2r+hR4bfjjZikjf5V7OfRlkyBXDpGY9YxMtph6tfRwwuSH9fExtTNta6yO2QM1DtTRx8sIcYgujFvjyg9ZoZ/BVTKwgSG4r96qpRB5xxWj/r+Dr/XLBm9a/AIFWmeMFJ4sil1Ygc2WDXbnvJBnIJhAhoxGp2nHWm+HUyQzbSrvkX0Jw79clUpzsHtCQ75nAppFw84hgAnri2KdMrTOFjfs00eTMPxxjMkG+GNosjC/pno6eVQdYbVLDeD1jJYPvf0HlXrkP1CcpHlj0nzUs7wS80XhX5lM1q4GUoZEciyS4Oa1GLE1eRrratpxKbXNabKPNiSNhbP+43e+gmYFKjWOu1Jf1iNk6BEMQGbHxTD6ZxCTnrwK67ubCK+NauwfcNHefXFIALNZWRAGc6YVE/WLB9OAPaaAWgoDn3Il6L0MQk+xiv+FSRBCP8p/cY7mS52qp0e2BvAEWzcUIXZ1D/H/b94NfiLRxbccDZUbHA3x68+7N4N9zmlgWgcgj+hKly5A554Ude+XqFdmZmDHBNpCDg2QCk3LOmgROKalhdTkfAfZOb9czaRzp2P2I7LLSw4MRYEt5ZvtRF4CAWBJO7/7Bzdq93T0TiKA+DLBw8yG7BJm2yMtyUzI0DMgqYL7FRAvjH9E+zkxYCRuwfOA4CoyJHb2MTAR0N0hy6SGIVM1/Fw7hyWud8lj8BBl40CQ9RbHbwifENCIHS7n+GN8YfY40AXCsO58pFFEz2sQJdOrsVy2geZPZg2OvQay2T/4g7qQSOtura0Am+CQ+Vw2DmqrjJs66KoeIobLO4+anvf/K/HXeynTR5QWynt+5mSRb6aXNUQoW68TJ036InrPq/6qZCpM2XvZQ/X6JfUTJCoke1achIKID7kMwtZ+0lBnTf1t1dRMf8RwZPH5Zn+leLZwe8Bbyz9Ey76d0BOacL608TBBmL3prwf1E5VKMwdM/so3dx8Sjvg6vGtafIkMeh2D/4tzmP/HaHHTrEU4VCAjCIMkJrGGmRc35ZixThrVOMDI4lZQgwE63jaDPuklVWwcIEjlMrbj8oSZeQ0+7Aa/nQxVwOyih9g8ftEleSYEi1U70GmVius9AbSfJyFmAjqQTe4g5JyH9IltIyoRxqxkV8zFpqKS472QZNhyVK/36Clw7hFgM2N1cigwFuvkVur7RrJWWc/OyLrbtlg33b/EOTQPOSIw3KYmdwaC/qRvwN5Oe8M1x12wHa311/WOmys9VDtYgi6bfHVprsYRUr+HWns2fCciOz/RqJ3sAXqhQbnF4qTuAeAVRzzQzjvUrun7gcgEN2M0+KKoyiECgXpCJ4Hc3ILjBclmUeB2o1xU+wYCS5XxTXzSdBRRMcLodNpLMFSpBZTHYa5YazHupkTyN0yLs4gq6BY+Qyn5DhqfCDTm841z8VhSZtZpewDAw/ljfc+qnWNup+7fBdyV9fv2qcOhovDw5A/jionDuXQ9txZ1y1kCIDOIbInnFpq3cosQ5eZqdTJBb8/5OHgklLYg1jMG+rXCBq1Rvoro7xtUUxsGe0gfGe6mGcoxHfOn6nUyO5bv9w+R2l0UtrcJpogO4tzN1GUJvBvffsZQllW+oy+XoSdCsKsKPj9/yNgoSa1Dxnjecyvm/IrTVxIT2lwy3aArmXrhHmWeEYYEXNP4sAh/y1moM3uIbVlVo55IC8zrfW74v3CavPG1306W/V/Zj6n0vHdd8NrmP7Ib2RF+vGP2Wuos4LNyIv4I0xGE0QqxIlsXRUTn5Bh++lfGD/f0Jp6eixgKHBBWUJdg09PlHt/66MU1N2n1WGgfxYhPIORGjaIF7EOp7jRdfvocuB47BnJ/VzWBXF4TOf+MrL5C9eVvqRktPwsX96EKT43wKTMyqda1EcNdqp/kknx9s5tenf4d0eoHHk8UubpLE6CCFzEluaR66Bz6NIlvaYkqdRdadEXh62YSQRPusiD6T9atDUl6TaSL1Z2MKXPVz7GnBmlHSbaoEq1a6M/xQmkJgxmBa5OntlGkWmqdqMLZf8+/KqmyD4v672FlXsWmPTOSdWwgigMV81WbPBG74faIVPnQy0ZIgr3Y/ZsSI8gblUQgKYgPPeJiCZm7OdLBbk1OchIhiAdwX4xQC5E6zVievjn3WXoszuy48o9pOrwI5dv/8u1nX0tDCXId5ADh3L8VTZCMYS2YCQB0tpP3+0IyLAeZc3pYU3o3yCLQ7gAC0aoOixOmOmRJHcjYRffogxIx46brJGPsCkoG1DdkoR3K1soGzYQGupmUDvOzU6pdzdMu2xQP06YMZSFbSthEKgv0Ysox+LeQDY0DQqa6Vi+Hlfge+/YgNPmc+iSqeH7mrN/Wt3exMkSEZjjuvfKVlnzdFO5ERcJFYqtacBNIxObE2Pf0a1qBaWnR/Ks04bVdcipP9oqdby4jWfizv+JR8LN31K/CUqkmkx6OyzM05VSbF8iMERHtyQQ+hZfrHVgQD+BJCMw+qJ9Vt3qRrjlnDapaoX28+fNx8YJC5sH26yiYjjyBqvSYKtJTwDzKs/FWBzgus6n/SU3ADCAXrlAF5dRp90NQNu0esNtAbcwmKvrHSyQSEk6Zb8gugBZJI5bN7TOwU4CQ3foXRNWpyXhxtY0CZvBLS3KmHudiTgyudy9mwvWS9iogV/3i6owVeIV1lnytDLOxnHL4LHXIvBqBykyHMB9aaqS1tcDnhonbHe2hf8x2chQZoYLYKhThGRmMx564P4A3WDsJi9FUtaLI1Y2HVxxZrK3RP4cylt+azV4qLh1++1Fi6NLvLReAbuDwrQSTgb0gskK04TiIfnYdCrKaxwPC9xmgCtRAiXy7SWUKN8FZIket0BWgZhriuL0h9gdtw+y2kW2PANhAWX211fymZLE5M6FmCi4ajD29oxxN67znYRswLCn82ujX4iKCv0vSjD6y7awROQupZ0h2lAL+to0JIdJsPToN2ZTZTbfLtiycQQyhi1kb4wjo1jNltW0TO275eTEWR/AIhZ84rhNpu6/gE+iEiy6BQYr0BfvJ4K9/ofXHyVZzjnFwIRaZRbJ0DSUmlNJdiqq3Gxf6Q5GKVA5osC9lUkiUVAaoCK+xY6Ve7WQA8CJNN+LSc+XeiwTyIE8Ib8BEWrUY8ZfUiOdmPNgpSVXksPCxkPgcfkztfxTRINAw1OX/4f8/F+MNlCwGD9iLpmvytxCe1kq7ziyutGBru/0iHrcB7zvfGWCFkUxiiiG21DSJtor2YU3sJMun9OpwdbxBRKLkYsKvLhzSd8qvDbghZD7d+2Xsaee1hskoqM7WLP6dXuLLmAo0to8OELAiVFeSI8u35v8pIJTuxNzPf06W/y7ZkdQEwW+vzXTDT6loT0cNQiGHVmO9C0Msd4gKsAVYh/gArlydi+PJg4546Hfux3X844eCLdTaNv6wxcAwHa1zmPA85PkcK98BjC80+3+a5RkUJZYh0df/l/6nQ3VH4K/L21M8PEnuENeFkv3e3zTS75PUM56ztOnfNbO+lbfobUblPfAauirVgiGnu+5cBOR38472uf7z1limZZcucbBg9KVFOMloKZmZQ5UA5K0KvLSBBTNhTmlyp2msRUg9VQubBfxsQ6FPcGAZgWontGBM+pkW8i7GbVNOGkwbZYvLUf20a/ziAjsE2pEZwQVKyNUWQJrrWDEHch2pcCjn2+3FfXFOzJGQhMkBiYU5b8AjSl1rcBOiymQ32hbl6RepbttAP7QXq9SoVOxsbOhK5WAmebiHD5qoIzYDk/PBSCMjMqIu50rSYUdelxO1CAjtClRQLdqwYyVGNlSfoMnUQ0eAxDbrJspcCOV+hhJQkMDDvfolmp+Iy/u0Qe1purEzT0EKXr6AmZbomcUX+4ZfiG/F+dvAehPzmJwDLQ0nzLVlZ510ZXiNCtWopM4TYADif//GI52V2WbY844GZ8IcoO+07BDZnaA0/hcgL+pvPTs78VyM1y/wtynuwa1wYM2cvOdduyhkTHlyIttn8/5KDCx03aC20oA+uY/LCGRXk4uZa3Sg/rIGjzLBvIVo6d7SUub64AC71m8gqfB04gtIrab3mhPMLSv0y5yyUbEwHNRx49eNuYka+mm7lha1iVb0AbY5Dbm9xbYGHYSKs1w47iFScQtsJ4ni8d5tAjJhLV/zgeg4yc8sJnz1W/Uh+cz8BcGHnC5SsDlVIq87bZlRKb5gI3eawJ6nd/hNHvfE3Xk0icFo+ozNHLUOv2JCB5eVyaY8LDyIK6nwEfULEQeNqvp4jCgTSqnvJgjbAGuIftpSseokuiwzS6odTPq8tqBj3Z4QmcYGFu3hRz8IkIRNpCj7RYce5yoTHpTFGxsDimOrX9jqok0cxe0tDTszvim6Bb2b1sriQU9gjJwOBGviX17KUMSPDFTBfO7ZkwxT/9kzILQP8z489oJ4WaM8ns1ZF76LwB1u13teMr9N1ECnxOLPpAMnlGu+LQe+Cl7DoUGlnMy0+/R8/vlK7jJpYu5FpkBxhZn7WHNOyfq+ZKiG48sHy1qfY4Q58sp0VWypxbvLgPFJIY+KlzeUn3aaxS8ZWWN6lWUrcSKNdQJUXFiT53eeL1l4yBGt3DXDdNzVpCz4lQh53qxsg+/2ihP/k0zgnJ/Yr5hbtS/oBVLCGcgCykpUExGYU8k85Zir7fYvghn2YKVA1pzQQELMS6fwRNqsusS57HgDbjGK1BgtumS84dzETuXW5tw/ufEfUp+DOPCdiH4ZFsgIP3/iBoIcaZr5YbV+f/lt3r7+uFmB+/adtp0f1YC+/IMBzBE27gr2G5r7pCvq1c+h3sfSHGjWrLzvWLxeaPDpEP3P/2hVtY4kETvK0kxHUFD9jFZz8ErlJSZzLKbS6p4L3Kq3/hBD3ZBGAtcV9tgsJAZbQKOgANDfmbhNeXzi7g10FvNN7PyYXB2y7/hwcs6POPKttpClsgrNx9kIgHlZfEfainjlInCWrJqIRBq6StXISItgpQH/32a3SYrmH188RDgXthQcV5K4noPwKPO91lP6lIgL0pLG+VqSmh1zsNnwRvzRRbK3u3RFF6D6QAviWikc++ekfcoYIU4CShXgG3DzCIKDitDxNsD6BiYlbXhn8gC7qZaS+i/RosbktMu3zXkG6RZLTwFwaX7QV95VLTT8vulmVpE7c5S6jtpPSjaHhYvWnega9/BrmbsrEPAijAaY6m4JG0a6+5S6Xwtjj4tt8JKWR0lVrD5psHltL0BRbZT4zmvJIC8tU9O4om7dd1M3TpKZGjpEXADVhQP+dW6UzO5nJcq9fVpuvBAHppoXyj7JYVydu66KqudAq91fhnhA0x/HebOB/nWtPmH8pNwF9zDk9AqtZi4BYDR81IKsRoQFTSN/4ozH/eKo3UWVRpVNLVspOegukEeuEDDRAaF5M369/EujTJYoMNZRXeUyrbjupLembM2kjo0cl9KF8Txloq6EfO1Qqk+iA992KWRRwWtPe2CzsKI0uZboLSmu0KaK7FZrOexqf6catIvchTlbqD9Ume2fKuwNjBVf+w9drQ9FMnXxl3rHaUBaUACRY0P7tYJfMHVpP61guYNEFQAScvCxvJyJ86k2jDLnqe0CCQxcRfkYdPDy3z+h5iPWvJiEEs95IVWgyeHaa0dUfx6xdkCcf07dR6M/Ct/auY722PAuOqbaNfkHeOad8HOmYcohYh3Veu8bZgZGxeyPtPsA73R4juR00TOQPp3cWrFCb/ushbcVCF8D/Yg5XtV6JjCg8UEX/wN2/3My+KrOefGh2FAVfBvQJC725hlKjQj88fEuH86xtNg0Ihmad0FhQ6KsthaBJRq3KSLg77vqGw98vc4uAe95CbbJ3F9pTxTRrk8bX2eTBBz2HI7V3xMA0aZAYL7o9vtIalzfIkItVgdR7uF7q7bWYD5/Xquvp9anfkPyux6YO/3YELe5mKHShUA3oKXUogwDCirT1nIbAQfkrjMkA0gQn8Dp9Ut4WoVJan7nDs5vR4a4dpuAox3ZhR6MpO+35WdWUk1JAToNGvrp6C6SK14wbaELMJ8PiyeWJ/82nughdjjv3sIfhLC/SZYCUYuEP0N5c0bDPN/hU9l9SOYQJ86VlgNlfGSLUUardSfT2lVm6/K5WZx6AdrOMLjegCTKaqZX48jfl5AIyv+bL1zKHonMdanlnwzi6sRwbACndzirV9i/L1iUMw+FTCjgzPPLOyVL8TDQpUaGt3GUvLXIpYqEdLo4PcByo3MNEq9G3clkOPK0AT/LlWXj700r8K9GoL1sWuJK+5STCZ/npIEgrfeuV1G2Gy0+0Mp8YhjTlQ4ZabwlhVENie7DxBa0EkQNOt+DWh3if4bhzutIBl3u3sy/dIEOiQFzkH3azPrfPR3ZYsxAFHDanj0WdfZFYIaBeFIq0kwSTaiFOhOiGvx93EVTAdoiQ38ZNZV3b6e69eI1vRmNVgQiYjWHVns6ur8nBuvVv0DNi4Ai7Y7Lr25LBTtdtOuEUcElWGeT/7SDN4ptF6gN91Hb2Q/v0fBNHjnVm1twpZw5NNfbpUvx+uaBxylKAvWdH+I5j6GCVzsCJDw1qz6Z3Sjh5vG/dJ2piDvAx26XtiA1pEPv9Us0+CXuBEBJD42JaxvnLgARzikDnVi2bHoSmLpqkx7UZZeFKD1pHgJI/JmU4fZDO6NbAAhwU2OBsuO5WYcPPfxuR9AWv9RJ2NMcQw+/rOuoD4B9fd84TYN4/Swxm9yYiuvQ21MaCJ163tb+L/JbvBQrowPkerC1w/BbAnN1KzSgTvczz06OnTW62Dn2vOtf12w/8mhiLv21S42u+Vqq8VXfLgYYsPSt7Hr4HAxn9OvhEwMkPj32Un+96S0IBu3tWi+dZf8K9v8ZuGp9XZLGzMWSxtN2L+tQDwnv7xh9YSeHy80DIrCTvSxwFlxEAEpgh6MA4RAFWYbFxblRdXN/gNH26EjOubnxs0U+DAAWq6vQQxCAI/yaYqA49r7j8kDlXd8L/sNx24fMoLC3quAx7+OOlrPTdsNMGND3cRtEroDgXh9VfjreVuy4fZpcU3v8kH26SAShCuVTXHWEtCJHhQOtoFmCudhsOygD+tIuyXqySADzGgHL+5vsqeRvczmv7qXxo5oN6bRTuEBnk+McKsu4k8vByTWgdQ+mKNYv0ebawacMZJ3UONgq9yq25Keh2XhqQeLTok/DEqp2n1GcM0NytoxoxLXtB8nJyzsHY8JcccH2kvtvkce2qDMmO0RiatjH2sL0Cc69J7jn+2KOL9SZk9tQJQ5RzPcIWvuo7QgtvtmabfFrk81ta/iHDbiIgYZvgiKFkCnFwdm0tdMpMrLiFqmMekqZGr6SwlyfGVUudOtdbVtxJVgSF17tnXB1l9ChPTMLzeY2sr74F7M9ZBBGo7SWXtqSe+7qxUPT3z8aJUEUQ1vHEpq2ri+gAm5J5eh7QdvW69uoWIS5nM6oXF008DBWcX/p94PxtbncOWhYqAgK9mH3eCYq/Ynrgy8t6Y/GoXjlBjALHhhZM3BxxywzSPPmTaL4skKuknvCRj9ZdQqCC4fkIhROsbPKDFvD7BZiBFwimX91ETH5DO89OCKT8PfV6mrhXr5z07fMQSuC++El/qLB1FisbszG69zKWB/wpFlPdoVsTkDI+ufiz5caekcUSVLsQwvQdVsgtKbWLappcQHusotX2i7W+KDTvzYhB968fyrS/QD0B1b104/3drcd2z/XmpuYAaP6ADO094UOmuNmnMPZWVLM5gES5MW1bxM4EKei3snrLARw7XzgQb9e6sv6jqKcuMmduNSB/T32rsaHud16oZw1KDj4pglg4LlIr4pdVyA6dumoq+KV6iQtimEBWJPqGEH1ET7kJS8evJ7rbwkRUwX3fblCWQllRSqMfMKEbQYReMEP8/mMfWkhrg07cbYw3Ynts5bf40L7QkNj728GiDiHOrWe9GOJy8DQ+okMnDHVzZ0M7P/i+LJ+jJlxeZldz8mqbacS0LILRSzkMw01q9sQDETHjweVJ+oL/q1t3DtNkxP0iIXtblIgqrtDIXOZ0Fg5IGhQ19qfc3Ivar1lZlgRQ7VygFJdyL3W177PcuC6AE36h+2n3zj2RoCtC2DQQXMAS6YBi4Lf7x2Oegr10kBIjxgj1Qd6owSkc1i7thyL6oVTZWHrtbwXtCVEjj4Os2d0EF0CjpcmXZX06xFnO53UVB3i1Ie2vuB9cKcZZD5UlbMkZVl497nY81SiMsEE6UYsyOwSYyGEafdC5aM/DQbY/C7uDeuxaC0PzW+kHglMS9Tomx7FUt8m5DuXj/iIdb/3bLbGDAvJlFcvRIuAUw6tY2kRrmQug6tBm9+aIAxXXOFirDTRGN9A60ZE3621+7qBhAQFrgXbF8z5aND2uIsJGdEW5iqGSaloxDveAZlJxgNeUTLSPKOgoGkCFCH3nNtf3QoZt4TPmiuukvCfUFormspBJHZSUUaWRI9947pgQ4fybp4BIczmsY/f93Ii2Fny8p1eX7YUeWlWaHVoU6zaL8SRmMn/anB4nM6xlGVmktA24BIPPIJvhEbkP8zSLBQ68V6qYh0i9GS5UrCdGsJJOFBlEoQ5DFeacBAmbOw0tfCaeMBxnxkaHHM7GdTx+JZBGM4fEY+AHW2F3gmk0SnIywe9NmW7mnZuLcysJfIv7ub0GmFrtlQEEnWKwbS4e2Iy4+e1qU+z2q8UvY5SaS7dL5DI9fQQ+YMkyklTDQPBA8Jf8VfUmoAy6CpIvOFxS3OGhN/pNqTvDa/CGvCep1Up8K0JOkZqvk3qTOOjVxUy4LKvtDDlwofab/aC6r+ZfzcgELWtQgS2omPU7uwdv36uzkg6pF6u6qYWBgDh2l6zyHr8JObYfL/snGENcirHsvQoUm+b+CAh662SGa0hbjkUktCmuOmutwnjjknwdDRXx44IKi91xySfuy2eDY5t2ywcBemdjZYzNiAeBT1V30fYAz9MmlxytBHQXzy2O23sCDj0gMZSRgmXe6gg6SryKQ/JkZpaLWI7+3w7YT3e5+LM+CDACrdC1uwTB2v10DEQIPbELAfG4vfc2YofhHaiEJTRdt72eBydh6cwYYr8kYA9otFHdwzNoaUHWn6/2AjlCde9O14NwdZDBSXC1YesAd5vE534i9/HMYplLWTrrldtP18oGZhZpApVs0yaKg+mfpsC1vGIxmfH6t/v31OLt0lvnf0Hoc44FTfo2L1nICUPk1Yx07dZ3DqoNP/suk6vxwGSmp0IpEUQpoLkyd7uHZ1IhkW36fns1/rzD2P9G0GSN98daAxU/gJGvYIxoDY97QRjRlgXWHVVFN8cLAHatnDxQ97gPRlxqbRxCzeGepQ6Nfj4VBTLiP9CHrKH+1u6aZU+hbc/MXjRE8Vr84WfjTPR699YBzpkAsqzRex1ZvSjaw5W9UGBfLfKQUTZfEvjpY5TuqoCj6Z+3Vc7CLO0qgK97dzUQqj8wXPJ3w41CISNm37H6UaFbC3jisLMkicuv5Xe/38a3J1NmJDFc4HWMu70v8dN8hl81BRnEGJs5okwqgMAg/mDR4StTvb8A/YEROLzL0DuBqzGyebKH+77Fk25DZ/YyWzrIsmLuEFgRln4FUrGKgqobZmIHdPo+dS+ylt8UuoVSVEOvSkFFtCVa6eQW9VI16B5ZpymLr0D89c1tJNOsKiiqpVOz6BHOajyVjLWQZVcgNp2AYUF+zUwjelj5g6pPfxEAh2BPO2rhJb/5vUlZt32YhMbrnMOngg1ikAv8ouWSv4BgJDJtlm1GlF3+4twE2KM8xgJp8KxToXgumIR3R4RgGMq4mEJvfgzYhzGsALx8/sfNAHXvleo6a/zyLMIuJP++GZM3773PCU6yl7xE6rSm5XhERQkUFt4yBgFQ34w1b+DUiZ67/9SK0OtyM0XEhoXF9XhQVQCEolEzJFYbEvknKOlC5qGpAaDOJH7t4NLCidPxG72IIy7+Y6l1Y+JYI/ZfxumiBWcMQAGsN/2h8HhArZWVQxVcjVVj7TjS4wtqLMUTLvOtQ3/wGj19B/Rt392V9RHJb1jmI3npk+eLaxOahWW1xTdSgtKEbLFORsWkjZA+TgFzVZxu4YzP4odAK4Ti8SJ68Li5Qjh8c/s+f4QvTC8B6BxCohegGYTvEoBSNQGNuabk+O7GBoy8t7+2GU73Syyjx98fLa0t/xdGevXs9SLsZpsJPWPdbgsgNoEYjaQLVRWNLIpCrHRPt0zMq5+7MuKhSKKmyE4aowEhEzT4c5fx+x467ufIKn6p0aKY5F3/jYErnYwF220e6lJvasRhU5fy9tN8OgiPnu39QXufOLlOJBzsgwYVRsyovszxufjAoSGzdDBWjfNUT8lophTXoNW8+x4i8/hg28JJIhD8s1SNEBzJw/JOJw0NzxrzxkUQQcn2+6cmnd1uATBMxClkRcaw9q0IYJB+OGWwDj1CSZSDaGWQ/BU9+xSFhC8GDl4TPEvC3cArdeDPxpv0+JTrDZclv6rMR9pl7ONOAYRGvlevyzibyWX3vaeaqVQ+Pzx/+B0wbXyaUyRq7FNcqxt9clBYrr05vFfJoO8wP7kI2QcaUCysBRxApQ4sPVHPEluDMG+dTUqL5JNV3FXyEpIt4B1GYSN0C0BRFZ9HYhS0bXoCuYE96XMO1UnubrclyWALoljls56vDlikur23/Hz3SqUzB8JSkjHcSW8MErsyvJqkhlVLJtfr9Vs2Mvzmke4Te2TVC0x6ymTiUBU681+flq8uRxs5WoiSq5n6GsrTpRst5x8UM0sztuWZWnLzZFcQEuSDrS3QQoO+cMIlJW3MFYwpgzL2GPWnL0u1+Qono9zNAg+FDB1UnknDMswe/rjL6HLVrrFWnSK2YwoXGwzVYpAr10KaaNotEr80hcMacL42SNWC6s0bVF5wyskmazzJZuUS2r3FVoiSAktMfyshUmnDEYmjs44QBwPOJ9Rlmv8nb8yd1gjhm1148Bo8hxkcYvzcK+NX4jyJnWmda9Yhpcbk9YE/xq8iOEhs9Ugzoa6D74z2IJeVvUuWQJb4KfbYaHgeLuoGtZxFGQYZGJC/wmOMmg7NoqgGceFKqcE3+eGfQ55boveyhlB+edTyRdLBvf76xutYHHmD84k23BSsmcTFwGIvQb7dwlSDtwK++yr5jB6Zk+rCl8YmDdbPAzuADZhhzkkfrjtyv52FQHNWXP09KegxD/SueeewoIp3XqBravzc0pHXUyRkGq1pRE9hZdVcFYfINvRwNHyBOtVk1Av4Z9WFDj4nKGnDFimRqEvqnhb0W0i1BTUTQ6IvA7VJmcnyW8ljSiTVWAmL9pSj9K1cvzaZWH1PpqIanPl+F8ot5/dQd5BNdNQbkvEAy4dJvG334RY24fkVX7553nn3EXoqP8MtBcU4TnDahji2DEAZVgCBz8Y6fEjgzO8P2spuw9Xt9PHKKknAeprdErq2YchWDRcRzPvLel69PLGO2wXRpNuLgpHtiYUolsOsSKSGo+IizDgZxf7cWmG0sOLmfLTPmltU+GGGIGoqYA63A4aTD4TZoeqaT5/Io/XCkg5th/BoiArQPWZXIEF4bJyoOGPggbAogRm4aIszNGSzQyXLeQ5TZmBqN4OWjhKBSAIVaZ3VCPWS0QqEC8UbICyvOzkdLeAE8fkMk3hCWR+y34s1u5yZtAO/LffdXHLro/wGrtDd/rugyk08GBM9ufx0AkXhXMUF5mNG2jLidTCr++NIhx6x2lH7KXUTAoCjERr8OAZwbUgAHYS1tZX1Jn0806HaUbclgqb2VAUvHjF0wNfA4eFW8URgg4L+1FXJl6KJpVfqVPSpmBy37RQZ3O+orSrVqokkXPpssRwUjRkzgf3uYLbWnG0ZofuS5gk4KGmf5Kx+VhvUhbfis5tlBLvUR8/u8VD+B9SdlPNBZMl0jZ74XUM87iPxGlVSfVgh+QRyG9kIDPUlh5tHP4YPYwn467tyjq8W6cRqvPWYcW7FfnomiI7HDHqdrKfWJJseDN5DueuNC+XVN4KUAEJrydXoc6B3rTQ1VTXdoNGIv2k3DYljIW/4T6pAzuOAxrUiWsBoQ/2s+dYnU55Ni6cITGCLKUZxPMqaNE92MM4smY+BmrpmXWHZAFLXiUarX5IvlbkosUSHEqvnZLfowvaXKZr8xEfP+pdU4riaU4kZXpBRKF/x7U7p7R96tuoJOZexa2QHBsgvprJLkCqKhabDCwyYPjckLu72tV0iQZo2bibcO43eVM4ky3qWG0mYBJcOz3qnffj2s0FZ6uVKK2XJjlad5RhdiyjC0xX5w+Hx/RKp1Bs7ER7NGUGkIQqRPkGGj8Ope6f5gt6RdqOr0kWwIebTXhDY2HhBPf4tTHg/sbkVlywVAqDV/yoFdw6B/B6pRHZZS2igpLOefeRq9giPqUK3b+i1NJrcZhbk0Uov4ozWEeOTSale6QNNt2Pu6aBFU+soacLcUjKqKM/R/wWcoPyi3ieISTTFmUO0Pqn6DoD7VxayLWE2pvWcPlal0wCJFsd6tQdUSAZm/5B+Bddky/j/jd4w1X0HUrhpwxWmgvKQzNro5e0qWoWQ5tM6LFdKDg7kTC+5hLesWen5AyeySj54Z1wD4EVpoa1sz890dchkYcQCmB2lCRY21mgdyFJniBmcb1akGFhIMsXAly0Xxau5wJe7oG/eRXMYzjBj6jupFAnv7Ih4pDMFzQvw87bMWAee4dp2LoDFKvW2vpstoGYUgap9ZcF3o9S8SQ0qa8EgJV20/Xauz75ex8cblIFAujxvjyM120+JkQwumGWWuCEoq6JVAa4H0s47k6jSrdSVFxH+ic73R9YEfKXbSoyEg5bBw/fYTQqG/9K+2ztLD7FPN7uBDRGEznuPaPjivytxBeaXjsbcFeYap1r8RgaLLBPGg7Ok1UR5WxqAdQma1qHzLHVIE8hp/k/p5aU5khwctAY0u6s9TtqSkgHK7R01wDRKM5o/N8LLlBDtoS12gRPru8r0pazR5fC3o+BbWqGDzAxUNNAhhGlA9JUpgt7RwPQYa61GtgzRwSDZM0dOeAABk4OcO4egsOf/a+sguJKPzEteG0eZvm0odP/wPCmXc9/s8FLlfHYSe9aO7k5HqauG8FoCQx0uxU9OYZj7X2fjGnHqjOZqT0fcCLBDGFtvqjlUxCheLwxquYMIajX/4jXuAxOlH9rLYLHv8juRkyU6vupDNkJQI8g2JtBAy/0yPsQaEw7eohtSa8MEr63AE/IZEK9Tf2VjUo2omtzVYq4UzPfUDLZJ9A9OTAIuNUtyiliTH6ahotAUA/HjXRVsBpo44TFP1Sqg4MYysdRAK/BglQ3q8bX3SlTcrA8XKaYZW9MO7B9WGAm6ZSvpYlrlk3k1SKw9sgG7dSDQh5ZxHAEL1v1ZBKS1pvinphHBgVVu+oBGUGc1SiD8qJCUCnKPh2YVt8KOea2Ut4DoV7ok5Pza4F/MKyp1X6kn1MOmMS1t8j0cb5/Zq2UDqHBPh1VxgR69mMa+krPq2MgrYbICp7O2AdsXgxkvVZRx/cOI2637eBQXJrUUERUWh560iS0KsFkoDnx+MZ0wnlFmjayXwK8vWoG8ojJTMDLgb8J9mvuE+Xojg5zmpapqkcev2JGjC21jUUK5OX92CF6+yqNQDerOie0iJcPAWf2a1sgPXGUuWIs5lGhBpqKEadXtsN5Ca5fTqwIakeVT915E/q3emqCzp3TgNeM6Po1hDOtURx/CyDIjJeW1vwbHa5ioR16eVptI+27N8EhwTJIpH5nTTCV56csLoS3kdvj5DmelRSo+JNw16VfZQJDlPLrnFROembymmCFp9D0Gd4WMkg4UL1uE5PFunXs0iNno+IM5xpPb8FwH00QTWeWMoLSAgptKnLzV4fcoy/TE3g8FPdIaM3ZLW0HE/lcURO/JuXRUlu815uD05RHcv3H8KbBQ2LNfHOItSyVRUkAtyrDS+z8Ux/zQ0Vb0jncvnUTbXVFbz05DpUe7di/H7dGi0GrB0iX/0NKJGdEpX5ZKyFVZ8p5WEyjQRzMp5eX+vue6oNQk1gpqt/LsssKDtAzaHnC2oDAuctDgVmNv4TlYtUkptlA6BlefsbXINaOEklFapzhx3HoxnglYo9MMY9Aot9zNW2jsA2ly+fFdqhIOXZYiwK341ujGLDYB540SaOxbRQB3Z8wc46m34mWgHCsNDq9GBWyNYMTNyt0tCA8hpTnLoYccHAthAd8wWfY53K/8FXK1t6PYQy9N4i/B2PKPc3K1WZxdYDgEDb2v/+MkN5YFuspmaivJiV7eeGqKX34808jCN8F/pl9Kpj1bYw5IbpbsJz4joMpA8W3mQV983+cw+4X2+V2jBqXEl1JXxxGuSW9HX0iepUL3Trw32GeJrQlpXYCKXBH4/sTiVNEF3CU+gdzTSHcpN1rtu9AAvvqxXtSHFThESZ8Gvac6bdPlmVJ4Yk59Nc3ycpg/Got85Xqdh+l6EbA6al2zoxphaIKSgFbZ9/cL2cXpLXKeL7Bw5+K6iTQTjjdJdqDJyOGZdOMj411LmcWp0IYuxhCLroMiVURHfqoK6IHHDBcmTxLB5E2R6A6w4lQ+bQImx8Pz+aTUriOHMgzRv3wnt7UlBwHX9mWuEg979h2atwgOgUH0Vmoxcsadc+mo6GEZO5arENacS1OZsmq6jwaWZDVYxdeRVx0dP7p3TZEYtv/1uGATvLU2qGYFC8OojobCD7pC3nrnba67h2ZdAnCKRRgjwu0M2gi2oUMFO9F8x3gD4OkmN27r6y59uhBLafDCFGqquo1cxtKRSb01zhzo+vV0BLf2r8PdV/tiy/3asPpgDQ2EZMfHWq//wd0IiuDwuFdvzyX8+OEXP5dpswHxK0/kbFYHgcr6UuqcO5x9WGbWULLjl1CyNL+OF67bLq8EuhDc7OgSCqqxf4nHET4+NHgIFNr8ltflEEJG2Y2bFdkZNI6VX90+0rrXPtczC3QXpCfdOnCuvQA492N0sLKr8gnmRy4h0kf/3Jd3iqjVssHdajWlkZu18yVxh9bdIwyw2Df+7IOgmqgzVZafUQwzX3yWjKZ57J3mw+uSsMT6tQ6MRaX3oE15iv5+v7YhxDpMNvVkA5aVOwhkmnvyi2tz4wQgCopedvB4v905Yq3gUBThZcva9zQ+/XGGECj3AovCJt7/XptMOyLtruKKizGR/PrY+ezZ0QRkMdZSjK3TI7wICYQ6GpFv6hcopNO7wRKOnCO/FPSRvtJXwpWL49VWRtH1jjhpKzGbXDMtX0eSAqMFo7NFdwMErC3ikC/PYd+uCQOxpVbrgc8PjczU4NkdGrrFzToo2kUDDXjoLO3KK7Wbh4shsoCxAVAMLJ7Yf7y4YAH6WAQtRdteusnAhwOPao6Bf9Hf8JrCGDmsijR+BuFlE3oZKJb6mlBp/REWUrRECDLPBE4zr7z5V0krao5lFlrjRZS9TUVj/vXicaleFvXfmSn5jp9Cy5zCcrGLVOXNr99yxSgKnMMyH2FHN3JVeJTEyqD6U6qqiQ9n6T35lXOqxkbk0P+ggR1QhPHIZni4ka1O9yTPWxg3Oc2xDMq7a89XaJGo5P/1HQKNbbhBUO6MpcsyodHGMgNFWXtVTw3zbvUANV99qfFEvdzvgIflzyRIw8JggQAHJoy2yjARt+wcJZfp+1oxjj1zgNKRyrkDocxjsx6sOsqkg0QqZ2Ymzs2OWawwQPtXgI5jDvtlde2Vv3N//wEYym7tiF8mIye9Ac4w80muB0XX53HU94loGS3hMFbCJIoNFUdU/sO7h/e2avUFPgLk5K76hNfSSJv+nvb1ReCQgiuRJnCX8bCz35Im7IuzUOFeGf6gVuEAZ5aKEDqcZ86YpCH/KHeGxawGQdIKdBrSKZ+4fJXnxvKVO74+DmD9ZT+z5HdQV5dFBbfsumuKHOriFh923wzloUGJuIC2lNpFG9UwqXWkZVJYtF2jOKHPRBLd7wvrQAj3cnxvipj7DV9AZmN0EHhrPffVvNiR0wnsg8SPndBnXDXrTlWgy3wRz/c+Il7sIJtM/ksegOE+CL5Sr2JTjZn+M53xLpoGXcS+r5WBaNW5WgNf8LrfxkpNsmTIybo80QVoxj1BP0W4KzYif1xyTUwM6+zdi4q7XUEz6wyFWC2dkYS3yIuOJnc62da6vnvlyqK0YSfDjcBBJqcla4zA9ffkgYRemzE2Q/CLHcpxHPoYkt5MLibYHyJXJH+C8uLfZuDOFzflvaW1ExKC9kaHh6dN5ScmHTt/y2jZ8ibIVyvCuU8hAe58dmNwDpah/1fD1rVW9QKzv0eSlgILml8LgNjXIxLhSifAVjAhsmVnC7Z9oiUTCpJ+cQ9bbBWKzPFD1tStd++8ybuT5BH9k4VkiBKvCi7UgYRsC7+ydsloNJJ16mcJJIYQSLqALngKmb1gGQvJ07i3kLowPDbBzcfDdUNpjaM3RMkYyd81WmgpjG0wEPAIXK+lmaCbvmnhlzmWt79B0nIrBLgcveppVZ/vzf1dj+CxJsSfKSG03tiOooLKQOqVbP+kJ9DT7YNgw19ch2LGEac4crpwtBcSLsHIt5f06cgpvgfaGwEnuyi7ivK2Ms+4FS5LQsgaa5p6Ezn4/Vlazu5aeVEbPj2MYHXrT4QZTOSNWTAS5vqL264pMoepCpgQ1Nl01NvuckEzrhmcHoLKQku7MdR4e23Npa4KF0BxOMv7LvbbXEd/ry6xymy4rzfetuyST1jyr7zmFNgVD3hO7lUAAjIklQmD1tM2K4TOuL02jAkIybaI2Jrz9oDNq4YwWEI8Ru7TjpNUCFKv9icca1fpi6f+1dFdl2Qbbg1ecbF4qilu1bKg5CasZ1xvPys378voe/w2P+TpUwjzmbhmZYp8cGt1Ckt+c/c3DVpba5ZqY+kb2qIwru0yAqIo+SzL9w4we9PWsZ3fZD0wF1xoev7AKpadQrajwEXvmTVNQTRLoeH1vefTbdtxipC/eyTwJ1MuOOpVuRxp2VS+YqJ6BKmwAo9lE9RC+J1luuEwIVRTLjUMc3u8JF6oazgVoXgvyU8OfbgFMnBaaE2Q4vmpVVQm7pS/B5uHK3sMe/tr9K4PODTT+caHlE2SMim5TKMbCM6fUArDJ324L9TBrob8fOlP2RjvbeTJ0sJERax535IO6qX+8futBXvoN6kUf4SzZiYQ0Pw4OqVDrpx29q9hAsO03ibhAwQeNgGoytCz29sTAQN20ci8yTrboAJZh8LUP0the0Iaj/D0RVcbxqENs+pmxdaHOD0Qv3s5Lp/XQ6EQwwFosIvSYKspAu5HMzZjYvR8riOs3cODEQvxSWPwlPEGkMzuj/wGqMl+IoYsw/N9L9gBUKmzzUcgUsChx3BZWFUYnvwxTiDxFgwU3K1m4Sz3fLbzrqizMe/R2oqNzfDHhI39+nx0ViTngKbQtxvUb+l3X3IsE2R6S/YjCAQdMkchtVQE00Pn94e4MVoSxw9/P64meCw7OGA1t4ByPXILInxc0yg5H64HkXNptviuoPuIISUghs2jnRonQHN8QG8wZpGJFuQEsNKPO+DFgksJkmaxCHoynLamxiVtlIYs4OcXO9j8oTltUwYwcxXQwXfqZfoOVY9KKBqF7uxkq/sBCn1lsTzm8W+9z64qSsyfGCOqBzW/IhDijMldEaNszIoJ8u+4nEBjgAuJflSgfmi5x02GYnaiWHM6a0fsEVKJJ4SbZjX+6gc1abiBx7SjTHmLs6FmgnHY+ghVbLYyPxQDxdA8ZadkFHjCKozNbgf7UAUNa19SkYa5BPvnSjQYGcC0mGlqIIqOqaKUE3dgt443Ev4t3r3TF9UVPX2D1+7z56rbrwcFLTOhSxOXzoXgSe6FgOzkYVGyW3Z06v1wrFunGzwT4xSmVVXiyO6k5MAW0C6oHDuw0ZBqbNYsDeaaHF1ftlBlSQLHMkUf5cMUxN7ncuGKQsA+GWR2woaVzYs5I/STLy5L1a0ZI9zvuS2sZb61mI1rBB2WFQcaf2lAFPhAtYOs7NTkwdxr8XgVduCUNvqsqw56lsf1AJiI9E7hZ12Fi3N/FTBDgyDZhVb1eXlM0Rrf01aHy2JOWZvTCECxHnZZqY+IV0lUY0gwStscd8g4W4lQIoEJSygm59tcWshW/sQb4K5mmJqrRqeKOv86+nYqGO7PIPnk8jpFh9+BZy7bWxNvyYF1Pzsc7XsuevSlmgiASrrlOhpz/jj2c7kLEVpg/+G3amcwHNjcvi+Xmq+DfpVs3SGiMc3uM8YG9ln/r0dw5Wmwe2zw4Q4mK1/YQNK5V+rcdymxIYptMRQHaNWV65P4M0SSJqUyf9DXTq9kZmdynJWH6YtOEOTMt+xcubkufD4MOCplspCLku2ua5AZ1BjmQE/wYqzo2XtJfucjSf0Xs+99fp7UCUHcigFkRjLzcbJTZlllgBbIIn6i1f93Axs3EvAA33Y7OHUZa/zlQut7XPIxwuFrPgNvh7kXxzX4RDxVyyle9lbPzDZxYLqMgXgfHdHC5/lxaUnxNFAF9oZ7iwuz6wolaTUhPeMJAzjh1oLIq//UjmlFiJXgoS3vGAG39/TB98Ly4r57Wpqh/DpJboSPlFqeDc8Doho/e173CmUeUVVw2/8D5+5BJ6Qzf9BvGoBcJvluBjU9We47uc7yFbDKpkUpQi4LtXZG+sVvImj9r2E0www24bpYboYNH9bWPTdKbecP0XBdydcGnGiTYnjKmgn3Z12rFM4Apccs9yVEBOj5N1to1Bh3C5/ctgJDS1GpdVxp4ffFdaGYpm1MpYo9X3lJAswYh5MTBFg+puU7LGZ6saqUo9e8hWQ9j1RNzwwy070CG7OtxcX2M1Mfz2y10t+iEa+kGOLnDPV3DOhLAavVCH6KLCJGpnEJ7NQVe03FDoTgsb6FPHn0Btr56/Mr4ws+rerPEhYC5d6keN+RmZvfmwPJym5fyO/jWgLS1q86cMMqSXmeGmiUMyllJIqw90t9fE4+u3x28Xdm5tNahwRGBLTC8qi8Jr6UM7NmlfiYBaOyx5l2QIuPlGTYhWSHYTkJFSZO856tS7AKmZCwU0wqT4aGYrTanvRKZBJba8/gWODKUBQRn+D0ZRDMByDZmjfZ6C/V4UJxRK/eI7vrpik2mbBo7ntrnkwUvuA9XAJiXQiwg94nYen7nhXYYWzptyduDyemN+lifEQLYyO+dHKK8gdEMC8iIeWBzb7jLSdmaBKtt2qWQ2Fr8Vkj4B55VbV8a43BbHJ+Eps2cPDppF0Ge324NQmR8ih+VtFEOQfVHfYSO+u7hgWgBuWGgbDXbjk5fMucQJMsM7xHf1ignO5UfO80ILPjGVuJ+UEF2OQ70xRx7jmhJgsJQIdSJc/S7xgRYG89U0BexwwyFMOTxTrnGKVj5Gcs8qZOzJW3RV1btdj6sYSWV2Ns/njF7VDeXqb2bzG76pbMOfvOUuylc+DvMm32J/7A1+ztOGIjlspbHLMU4F+TR2In6YGQc3muKNJNxEDG2Oiw2HQfkY3z8"/>
  <p:tag name="MEKKOXMLTAGS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EXCEL6" val="False"/>
  <p:tag name="MEKKOEXCEL7" val="False"/>
  <p:tag name="MEKKOEXCEL8" val="False"/>
  <p:tag name="MEKKOXML1" val="4HooU0THZk28POP9trq+pbTvvzd/gcV8t56cq85kb3NDTsUhojRA0EsgEHHMH7oYP1SYpn09ysXVivguJdhTvfyVMsBLTGvcX7WPTor/CmW3tVRobBDyzIHs8oWcxTfe16DgJPVYv4JU8E0bcMXYhZ0E3FVExClT6I8LXAHpwNll8HfSL9HY4Fy+ZKx0GPShV6YONxXnS22F97kZu8jbw6WfvZjSr4wtpgV8jIOgnXr1nPp7pwBqoHo+lw3Nf7bOLdPlH7Dp7V36RSXChbvXFoQATvO7ayZfnyekfneoVOrtybiBQD53Q+AEwx8v4TSdQ62aeVAP399WvhKtGsujcecUpOO67oJATR3jSvhmnmb0/aCffWhOXMwJcd/dZVj1MKQMP9Qo5Av/ysD5aALexKaC66o+n1M6d7NDNmIeWDdj2WenqEb1E4+c9SYeeAUHwtuWWP3RiFjD8EqlKwfItEAQu21yQQzpHdepDDqxiHSxHkd6kSSCW0M0QCROJj0H6f3gMfqWQsgnhCF+rxY+/vtDvsl/beklqzo2zFo/cNI59bOyouuAPzM9u14hpOuf6IutoEij0o88zpo+2GUHJOyJlV93tCajCyLVtW1ubGamt7tchTqQYNBDhhSpwaG9ijOdF7zZYWd/zF0z+b1x+pFaCPtS24VnRj14UXLPPKbfBbmheeYGCr+rmub9yPIUk6RcR1tGtuaQX0mMcnY9crotFpQ33ca+IEkzpkD4Nm3C8scPo8tWgj5S7QckvE0j1KjS8OPlsCnUre7ua3BzbPPHhso1iW77RKrqDY+E/DypIuroB71O+Nrp/nTmifmZVr8VDECRmEArQcC/SAIH7H00HP9MVSqNDJkWtyNUhm3+yrtnBjZtRtIaIvlr5h3xT3HxrwRjAOBj82ihF8xkb9S1iEDzvIqLIpAFXnk3mDLviaXylMprp0Zpryi0i2Ui4rTXgmRIm8yNVI07bV4eEo1rOObK1DuQwrgSuth8YSi2GTgnl5sE+qjmy2DlePCKZS1/oTgU8Krsc9cHIF68BvHIJ1VTjJ7gnSF4PRSY3DlkKCHoOON5Fh6BnblXRLko7esKbWkHIxi/LOxLdPehrFSvmujFIyht23hcFxg53xXg5IGsGWwTI5MxR4ARbqo/FVfaRFmghSbkmPAL9VYhfT96eeI9fuLTgjoN/IrZewzlhVCTboFj3P5kj5SA8yfjD1wu817aNdH0HryAaqQmPpOHTHBy79jDeDB5hxcfvSJGfJ6xrIZ+wKtyoj0DcgpTF3AxhK73OxsOkWTHRuDqP0nyiz63DastCKG0v7wDw4oyuiZvWZ4thxa92npH5o1S56gV22nIcJOu/FgZhxXVZGtMXPEP/dQphirRRml1vdXKc1ZSZ7FUUFLzKjyc/rZN00RG1Ed7N1e4gE5oZUo6Xq+OrsVsPqhmIuhV64z8BI8LqWrQhg/RPOGDuTNnl+ofhxgZn6GrFGG3u9Gp29HAEUANEFG+VMMBJ5O0gEnuj+NVie0IFHvIK0AvBIK0P4qTrPw9/fNw3x2PM6/ug/jO8YjIEH+1TKkBy/vQ5ob2e0eZ0sFiNhknKraB8QTOvobEjxyQf9sHKomRelPdqA0VbmHxhHDBT2xPmwCWtrdERAMSwDLYclE4BIe1Mjx9x8N5WVZ0d/yMfc1CXQtwO5VSz6cTThlubcKsY5abkW7s0hGhxe0MFVneuIqIkugA18ty8ioTDg4DYV26jiu25WtKGeqTvUMPtjvNlId+WWbdnr5+eTlEvUq7GaYMGsX1GCcekw8THpq0MlV18PLofBkUe4cSMuVYmer9SlbRNOKT8vQEmncoqVXwEOUWaihI5BQkSEvyIPaZ41sTsyLJPpoaYVkyaWK/w4p5Rb7hOakdF6IWK79OSLMh1btyN3vf9y9meAvv4JTgD7YESDEky7n61sOnu1XnlxOuEMmeSqDZn0v0r/Bj2EjxVW9d0c0wcqZcnRIUcqg+9RoaFIIb/KFgTQxYIsPVtT+w7QWZRvl2fJE1yUBzUbdTuvLZPkHUMI5CezYmZP5QQXmOy4irNE18AsFH3jKUJEzPslcN81UtqTJpSdal0js5poZPpfI5+fQuxdkTdqfLjZkeuAJM33vtl5LPMOBBciWKaMKD6TN1EeBGZIzRO/0SSQ5ZW9bLMTGt50qJrXUHE1Xp3UpIhooyfqhgcoqdBxGzpp2SL3s8eoIR8jYSq+z1UqnrAAc1HwlLYS+9OOgUqABM/ncdxqutIV2qDFrUJj+pbm9kTrE8h/u9aTCKMLOlMeI3gKUySQjB+wEWe8MCmnT+jxuB2FNSknj4OBH2KCMi0E2AHxoVUieQr2mfBzru6BdLS1vZWvXB1uRKUihRDptdmMrsaTrWo1o9NpljZPzLfRA467QFCt+ufl5t/oRP8LX7YTLeIa7r0N1O8xKkuV9Qy5xz0LBCAKSNXOfYFbpkvLYo6LT4wriaau/Wyg6yk9iGAk7jjO/mY/U7uyAg4DqLveSqoXS8ATma0EeRWT1+RnAQ6BBa+7zcZNRujACTwezbMvpnOq+z5NmZAKqQX7Xcf8g/XGg4lGUIRJk/kNufx2StT0THEIAASlTtQ9GVOgdFGP3gbLp4Oz9j/DmaIjK9sh6clDvig5jQ5l9hu8jcHHMJdlEubW5fkv8BFvvM3V+xxQQ8A6Of7TF1zg21uRb0Q0PWTZrRB7cHyVP/famt9MuPItZ1Meipesyw8tLTbkpnnNEeqVkarysh7Ke8bI5FKqzLXy6yG50oHbfw+nCZRN6vk4dG3iLUKCtl2GRy0o+m0Adk+OpEnLpPg3Ht32MKoPrK7Vhsr8RaEMaGMmO/uHiRR7YE7g33JtYa6XdkBF6Mu58Upw/tR6SRjbkMt4uqbjJiAsHJdteXfpY+fxwySfuPTKmMgRJJ1ZrMUA5pI4tn1PRkAgry3jLEV8+zOuMwGPN+QuBBqYslqcz00IR1LES0jym3UWgnl2c9loJPQnGEjhgCT+FGjnOec7lLZUDjG8Bib7GZph451qIl8PwjDRR4Kb9UC0x35yj6wi5DgFniAuApPz5ABRh/Wf72j1IwVnZXUBKR71EbbWdHx3/JW7636Cq19ko3CN3sawO1kfz1BDfRQRR00kgdraRoJGOfcI/w3U8N8iFUq8T5gt0qgiwFWuaHc2GEGgTjg+wDlnuYSV14N49HuYzPt4A8/l4n2AA0yaneOX959l/L7IjmwRKi9EjXBz6YDXqQ8WTgNwt1aklnaZ3yWcCZq1NvgopJaY/86TvT/R+6t67VRwgSYpAUfXazpLf62lIqiVWlrV8IKofeAh8FE/GnTRmeVcA0k0MSMUtUzjv6kECaKwF7A/vSadseW7uBSG53M4K0XR6FYjYyrPZDVT7wDQQcXmJsBrZIXOiiHBj+kxyIntnQCP92HffZMr48DL/Q2PoifgcK1J1nJUGwtJaeOrU8kZYJ4AzdqQFhZogibudhBo1aYdrP9XpqbQsMh1Cl72urbahquTxd1U7nBTiYxk72Ndz7o5ru+YyGzj+LwIpsXfGgNkMziiuQzSmSLTVmYixuuuSliOv808CrWB8CfbCha2MmPNseQOp9kLnw65kfLNMJaeB0Nyui/8yZrhI0Us02e2OZVAxmZ/PA7gXLlRvQqrAs6NP9M/MFK34ohnUga8S0C9sf0LAdBvVGNr7qlUf6VAU6vtEV9/TQKZ2GInhDwllTK4ENK2og8+sYkybXW5muJJKUUfF7L/MeT/OGznyCUtdbSDAIwanW/HrPZn7Vk4h+op6BUZ+919kX9sjhlH0GKwWQZY3nIk9PBk8w/yXH+I9XQVbVT7kai5le5b98W4LAYhg1RHODccdqbeKdlroUbk306r+oDPxtakz+is0sLD7p2q+jvkuQ64hqd0uFhOIyZHFCINqxJXHhK/yCQhr9EZX8p+u2PkdiVdt6XVKePjIfU76NP4SXlboo9C1/5suWPQnWbvIdWHtMzblH0fBkKx2MEU0fqbIRLh+Tna8+S83KqqGoa7oXYPdVDHMk6HSnE/6l1QnaCJeBaJ7qG3IGO55mYVYdDjrRbY/K9CqlNVYz8BMxUGKZLoQZm03qbt0/WEeQKPjBHvK/Xm03t/2RjjZ4UGXfWAAqdkXOenAQnNZSNMi0jnHnoJHt6sVwIKif6tVc0Rj1ThMn0mmnaaW7V9Nxq6KMiwe6QiJVapPuAJVYw1SpqBWQts3gDdkE6+uvMZn5m7Ls64VTRyJRyPM9bc0VeQq210ExLI4D+ZdXxOVLpWiOSd2yJ2JNGQ6h/H94U3oPopYtc/FganQ0VGKttbh2DaM+rv5JQRDk6f2PzSFLlpucavbu3nP8f41Xusf7tVFfdQULNWjrm//6rDscf9OQTGz6LYW4rm9acLXLk7sfPUAQPdMXemvwtEhA5QcAzjLWVXFC6JMGdiQoMp9BRDbhoFOeLFQZkha9uvCmu1dFrSt4UK8PncDgCQsyq9kw9p1ulIZh+eIiHk/zmEOxWGukMftQDTJ2Z9VnbijIxPcbVhTTTl3HU54Bu8x3mepiUU9k8t4YFc0ecvNzaqcNJ+DWJ+ICrLdUQtjkGIeG9LBOtZnWZID1gj4VAXJ7nbKKEQTbSxhhkicJhmhc/qYjgye+19T1xI1vo6DDfc7i9MpDuMTgAeaAgTGOLb/qGJp/Q7Jh+RR3paTvWjJ1YwzWLqAr93P07WF1RzKnMrCqjecFEqKDsrEYFJdEpfBjHdF4y9GpDuhi8zaDz4irpSTeutWxE0nR96IuNVoNncB72Uin3/Oiq8JQvpteOz/rWKxkg3ZNLY2JifRARKG3NBJg6ZJvDMQ+ECfRrHE3QFSxU6OaqemIVVX9Vu05jxcJ+UqyXX94FsDsoTnnMYXJxBujXQeQe55apFiVAc617Wbn/mdvK/iqdjGXFydipYop0scjXyHCayKyRQ/j2JKFslsk6LDcchoCbSI1Liw5FlNjY3eXZTZkf95o8///3t/El3gWLFR41EOnfCNWwXraDm2gvaoOzoL2X6coKPXx5JRpbaHQvU/huO5jN6AqtygsEIKKsh8KzEiyGniUoybdPYCEyT53GQg72t2jw0UEMJR+33x3gsv6CUnLNHB6ttZV3CUoTqmPfPXoRbyyIARDVgcOBcT90o+G/7hkB7UoRMS4YUvElTKmtne9batUp0m0vfa1wpP3koewjyPnc2IBXS94Zu5CXr/fiWV/3FzA+8ZDSR2MGjXOCotyWwBVO75BDvx2Gfzi0jRuZTyU8Dob2K4ynZnBZxaxUOkduQN8uwwZrOHXauT8VSE7N9ixs6Xwiy2oPZvaTjPypJq9BEbG7TA3XDsr6YJiscG9fjTU4Oan/9ZckolOKK6KO/f9b7fnhrWoe2EyKDU+XSgmxZLZIEPDZIMxkE01LaAUl0u+RF+Tw8/MpyQnzlNvF5YNxEplGW0gpnvMBTDHpbxPXDYAIGiIes2Ur66YC3u6CWuFbkJzwhFiXxGs24DrYwcjR1qOpHT5J5f0y9WJNLnAZwDoZ3RQzOR8ees/lyK5evLHSE2OxP6oyQZEQgwyRACSwmvQqBemQRXktlLqGMw2qKKZcKXHBaMSx4pALK9GQM/BhswCZLKoMgUdGMpXmNh5O5tk8D9wOvEl/Gde8A9XVGGHa7+MwjuyxZZNjaCfO+D5lkDfD7neghJ8LK7cSlQvF6FVO2gYNQg7gnCJ07tWzKmvQuzdN917CHgC1OTEAPzFZzrJIIjnBfSJVi5/Soux7Zigkjm2/T7zFS6+OxC+VbkjZprBQCzcrdIYpERApVI1/SfCqxD2IkvNVKAFvC7RazkRuKHmlOXcyMPfDGeRu0DJCikSVhazlKM23afkEntcaNv3WT6izm0WXHNe6E48hIPX8CizMsfR8su9vRAHt7VhpM8eCq9C/SvUfPuIc9tAjFTa4UqtAvwKamHIj3cHtKs9XxZDVRXtTMb1q3AC2NnmJih4KGTIuWqJuJ5REsscl0uUUvfd+crHKLFUPf/W2ZXsLpHAQEh3nBGyuirighoTxDSiivXm54GCQazXHT+3nPXuD8X8H63CJ+/ANdtMteZWa9wz3xZOxWThcyqnMTZZCNn1pj9l5wWuGVQxUCk03cTMEN0btagCKusS1vOFHeEFJRkTPBqUMxjPGxfWJxs3vpA45Pwg8v+4+6KdtVnjYURcICYU/KwekSw9FuSoBdDtUmM094lT3bRywpvCuhjLAzLCeNIz1zww5hApVNjdpfBAtMo6Drd46pxrfJ4e99NCXej8Bce/U3A1mTwzAmfb0cyfv7Nrq15NzBiyLXtBqOdYkGJo0okarz7Hrt/d9O/TAdDfzjM7YJvCKigp6Id55tUmLhLfRJfcmHajejagLnksWs4rPaz5woKK3K2FadHHPp53zEWTK2ur0TsU5Ej4jVG9s+g9SWirRBlbks2gQ5U5YKxd1letGeh0JZiLYiGdDlKuZKVza/IjEInJg70Sq4MfhRGmfzar3TRH436ypwCu6F0E5PO9s+aXSfNlb5ltTuQR0db5NiMquK0gzrODF6htE+O32KINdl0K08wx3LAUlsBnDFWUkHXcO/ckU8EDdCIj950bkJRIuREeMBZrEvNvaDT4zRIc+VkMqWLci6Ek8ASGkkBNItmr6hB0TsSN6DJq9JS1eidC30An2vVidz3Pc2S2PgDIoX/G7NFtwrjiaewfa/k4X48YeiejsMcAPdwbo1VhnG7wVRPDmpE9ibRx+FYuPpywTQyiD5Filn3zPtQCK6S5DYu47MHRmbjFRZHlT5yk5ZkDMGY6wfXsRy1mSYHrrvbm5iqZEtL0Pm7CVBXxKTvG5CGIpal7LNQM7Gu7YFPW1Dk02VxOVzeOvN+T8LKOGXH3hGZ6SN/A6FKGreGvdA4D0CqX1xC+SPk1+p8xCEgEBcOkfnWIgHoMIOfWcvtMlp8lbas7wd0jKgba5lk9RvDhgjxVcZlvFZytXv0su21odL1/vXW6CfVOyIv9v8lHjm5fHrEd+QaC0e9U+puUI2OUGIp18715a0r2+MFNXe4d/3VNR7W6/b1aqxHiX4itj+sj1L4xnxvL/Qq5SC+VguUjqmhb6+InQoLsFSlVGYtaMh4lf0j3dvEHdJ993gjXAcIOsEtPYJ50CR+AXYy4ayZUP6JrtQZBJLgaGZo69YFhZiLzqsT28jJoWmr1E0YGY/CR7LB5VDAsm3okpX2LVJZ3Cjou4x8IpgJ1npyFeDY0e5Brv9PpOjmTxRDwTRGeL7KOUY1xPJqWkTg/Tt1yxD1mgZoLx4QyoB8nTHfK8vC6DxP9MYqlpoir5Xx3Si25vdDooaLgWZgOpbZQzaBYFrkliXz6+zQ4k3Epxo3B8FHcpg2QLw+RvPV4YMBNlhlIxr/GCrgr9r0vPrSNHWwL2jGaAjNTmUPWeUngk9mzfjbSAhtbJPb+lx2MmdDHxj3Omv4ou6z8F3u6oLCE/AkALgbodGK8rCwO1Ybd2xNiAq5f23ATGUV0P53wYBdvt1caLnExIgJN7heuRtiNngYnu1xBBTHzqIGApZB7ve06XfS4nzt4TMnqCZreul2vXwal7xqxXDRC79tlrpxWeF6gT6ggu8p9SYFnPVxgngIc0HMvN3pISBm5W9Q3leS2SJ586/J7wtvKZnDJLTFJgsc5MlqH/3FLXlabQDZlrASGDoKSBj6EFgaebyFn45xF/PdenUM46+jvyZdb7JNlUTa9KIroDxxZdu3jNHC5FUbWQOZJiKDGILPCKRMh8TK5rdxPLxHfR5tdIMTcYOgbvc1oh6qdFNB/eK8AMgX6O6JnLz/PR/5M59e5S4xOdtBhXYRnMEoPjxyQPLxnc1boYc03WF5dd0XOUnNnOa4eZdTatkW6P5/hM+I697lOVChvaPJOebOlT5I6Az0i5cRtp+ifdSiQ8xndDf+TWAqI/GttpE2Db9o06Lrggl4Wlop7OIqDQJ2lIg3U9jNX88zf/9mMyqZ2iitNGAUo4WuBdcJtZtFq4v3dXC4374rHOiyVJnNUlh+2fCvtQzixRc+LIN7ExTFFzkABrHfpOtjwkB+hrypQpVQNNsQ/W903JXSP50+CNQ+K06N/mZzkftLKfY2+5EJaJBv5fP4NKAoeu3LtswOn+gceWBXb5kYMKEoUyD6VWbGZjjWaVVvDnEWJ3V8otk2RvmRZKWThdqIuhTHB4nTKb2LaTrMvpsqsH4RAvEVyvU7ly6Uu4aIkx18jPSXZyIQGpSEoQgxfa5Gwy2FKjmCHAHe9Qn36EhDgr6dxVCvId8RksP+xb+IuxVHCF+a7kVfEJdPH2eFsF/UXf721KFmu/zmp/ebQD2US2cL40IkJPM6McElEjXGlBjQ20KjWS3x4se12RdxD/09NXD/S9DdoD2218BKHjSuA0vsU2+Y4c+NtHUQ/9vcKts/EFednbTAKPCWkMawUnoNnn0ufz1LNoMorZLEih8JdfkFy8oe1Mmy805XE/QDVpsp7Hvl3eMsjiMv6K9/nQF9NmF9UWIRQX23TpUbDBQX+XWR5Xym1IFtvL/TFANZ44CKRkAgOAWhzTE64rs6iVTJJAbGjRaiaqyO56q1gDNUUgNDy4IhMwMKZYWngPnvjQIF3dQvCzc71yHGzdfcCXjsCxX3FNnxOAYGPHB/lXB0EmHihRva2SLZR8eB1z0qCcdVdfw8xgSnLqy25Z7SJQC2dw5/h1uOCXD47Wqs7pOnePFc6sSu0uZMAIxaet44M2v3al2uTEb9FKoySTwXpCEaYMaq1ody84K5krhh6WoYeMBwtloqH+bZvbCX/vuNi043Btq3EiwKy9kaEiLUlhXzPrfqCvklNENY0qjkeag9fQpe06Ckc/fwswM36KirOHnMylG5kD0nM/jzNywpWJ4VX3dOZFnfjb/PLZjPu6LtTm00oepxe7YYTSIda6Rd+JfeQ616YpmZy/dhC00qNXMDrGB285VWhnYMTVPqfOjAKo6ZUQemetmsaY7c4gETswZYWr3N40X5ST6is13nsm+Tk6JED3Q1s+R5d7Vng8gFq9gakDoPnTU2mF6XTKJxqi2IpiCS5KAYzCR4VbWKLoX3ygx5SDKRprISDwJqG5gFRuij03EDvdR1ypTBe/gPfczH4+JLtvKWjY484CpU5Z0z4xHcejsmR+4PjbaUrQjf0euAuTw2OAPW8AsCmvbbo9IMCjn0hss9dMvJv9Ci9g7rh6/KgoSVWXi3OUuWKCI6I1f4sC4oo1aJxNJyJfagYm+OjBLlhz4KQ9CilPcXMWXKTYep3BMZ4pqNQRsSsoblZX4xGI5HLlZA69wuJT53uNQCB4VgUB3+2iaNz7cxHq8jzONA2G2NEQPSyL+DO9tqx57Kp0dVIBJHGRtmqLGHN8c/oA1xNGiydRmbPEjKFeu1C8JOWZI3icq0u9wNrVJeRI0Qrcina8Rvbu9DOSV8RHmYy6Zd0YfyXuXtPjF5/8caHAJRc1JTGMEKn+mtz8KmUvZPcqF8+Br+D+/H6BETsrnTY/SSsCxG/yft5SN9Wiy1d5xAfWBA7fR15srhwHSIpKytgKL7FbZwnYmunAP38/b1y5YlMiKgufZU2TrQPee5HeaGi7GwFIiUTwIGbuNamSdQIC4Oib+aNOc2zwqbgsEdHM99etBVY0O7NwUs24FULDHTrzGYkqled3pskeYi6LoRKYSzb/c4AIo6kSiWJLM9NGcGU+XSe2d994u3clJdoYwGYKQZwZmBynmp4NBAmMkC3uQv/ml1uL0rr2/YPEu2ngPL4P7ttVB6F4xinr1CVI3qwXqvVoPlUiAcDmQx29Pcie0+UTzroaosinKCUUZbWK4KOlc4SEsSgFp8baYIRMFeh3Qd5i65DlW618JPD9HSDeitwlVVQj9knhK4qwAWLZrH+O2rXVDrIya+TUwYusm5ma1oG/SAZ82dGOy0Dn/83Z/lPvB4K3P/CJ4yzzFfn9mUONUngfNZSZy72sLEQjaYR4af0HUOsHlN9iCpZi/fWLKfFN5cV9/MQjoDuWckN7oaDKhNybYGOpgk6k2dJdRNE7dzB1euX7MLfqeHMdhII0AOvf5+gQCK/NavRUW3Tk0k13jxLLR4aXL0+bIZ809OPv9zeuoJRD4Kz/d9zVl91yW2CF8F3gqX8T2LkgO2U7h3Zt9o/T/ovajMhyLwSq25gQJkdXSlzMXHY+0TELf6HUgAuuKeP862yW3c3w8QJAnEYPbdDlcfQZH1Ch9ALsLCquJx66wh6pVHPAVuEZO9DmzOrYZrci5BMVIGCQ3sXMclxf+z6s9XiS7LI+gkJD1Vy3t2XQndSXo/T32ZjygNysusoeDOESzaVnTRnXhz8+Vp1MncwRAFCOB7VEE40lZt8tiMXIXvCk5Fq6m+aikZyXKbCWCWSa9TJX+Xgxzk0Pg5Tw1eqB2uNtcQcXDGIBwwDp/Au19aFwf8tzJlCiI0Y2CV2pYzIJl3lLKfIIoIxnDEHq4vEvqYAxJrLhfbKrM8ei0EvspoDMO53y9UBYhAQcmCLXqv1d7GSCqZ0KzowC7AMwzwm8NNveIdYcF48mDZMQZTO6OPCLCdZZCHn3T0fQVoaumts5/KLjUPtOcRT3ItLIzRuQ3vXFzPvkNdB1mcFoX5yXHev6Pkmhg29a6/+9p0lqKpz8B17lS+T67qmmclqYTwxfFs5yvXCbuwdP0cWdXiVgnqExWxEWjVrZbiPU0YStk32eJusfGK9nQ8M+9c/fv0I6rRcP8DGTcVic8WM9un1zWmOoIY6Ht2TY3kIjPYp+77Iu4JpmWu8eeYDiSdzq55CBZBa8Hl8Sk8UZ6uHR2M9b2OXLphP/S/40+hWcBW3IUDyZ64Nf5HXmmyrHXk7FRB4Nirp0YcER1YiuBxbYoJFSpS9xYMoYI6/cTbMzhR+YEm8FzGMi1+30t/E0cAoPZ95xSTxVPgrLZRJ3+YuYzleWxFurpGlqILZD9eEvUt9JvL5M5N829aZzxVV/ozVImM8HypMQWZN6ZaeD5QjLyNVxwROGvy5x1nvEX+getm63hnbbiZmqhADzjI3v6UPMmcMT4ujW5sB+7N29XTmNvLPvJfaNcWB6jYNrZJn45TmEd+8KDUSCrfaFcmhtoPA5E5wdb7HE+HZkHTVkR36/hsuNy9Jg67qz6xeGCHewsri5/TA0RyxIjl85NhmJ9LZegM52mg0C9laUYoHeH4Yt55d+mg4kI9q5QX6XZz800/CzmgOkLdZEkMaVg3rM3QrHkXi3sDT9lvHhlLrTMaTBXr10qdh9ry/JRrXRWcE7PNZcA+/jVm+ljmw4tsaQeA5SK2DgauyVm0DaXJwR65gu9k45rEhhLkwQp8R9j9QYPvwBVBt9GK0hP8BJkar/FLDiwZ3UQwZy513HJvXVHoZ9AUDjGfqV0plWwpGYRp1Yp/A9CF8x6EEa2KbMCKJnY88fV7fmy6JCvCkq+Ah/ZsjaZxXf4FTsoAt9EMOgxqaxeKlk0Abaq9yeVGrXOsD6yeAvbU6C9D25EB9NKjRj9KxOQT/cgiGKjARlCws8UjXFLMlaRu3rS/PnQRYa7qRze4apMR1lBdAWuEh1Qvx8EXffIV0i4Fetz4I4le96YsEpKrc1rsRfwAsrSd/YWh7zNDZOWgXDXAqye1WLlpXt3Yf8UthlBdmM+OTJfyWew9mBOEIhU12CBVE6zeI3fwskUVeQijlxjoGU5NzX48reEpfvzXWgjqjEJFeG1teaorFyCha6vILlDke5+lf9eSengJiLBkAo6YDdm9ktxAgioK4Kz59YddyHoRBCvzFuSGiuZ9lJexaneCh1CGwce0KhjKaJtLRAT14GeWDon2LdwY6yi2lQjBjbLwh4ZFH9Z42Jzznq+38V2OKuYDgtgBHcek8J+96bJJhVTM8dMPvTZw4B+j4SN9VT6yRnpZaE7V58TmvU1j+BghGhfaWkmymjgqGnA5X8GKUwKM/2rib7/ZNB6GWEHFBud/p/cPorylViyHxvlpXaM1HicDZhg7FeaX9wEYpvOaIg5y5TZCNwGAPG1oE/WY4YwLct79qmgp/AATpyYi31kslOLPAAtaOVqDEL79AFdGekcSMzkcyZ20ZoBUdm+s1j6aQOCjxTG5V+5GF5tTrhNYTrNMbuem2C8iejC1afxWXINt67S6UXsg220eHRtYsosrAAJTxK6brJBNzee3xBpS2kkU5AaMipZ9pgAAQRIHJZqEuYHYz6ynNI5dAPbvxxMN0EsXukwYJqZmCPtpvpNHzgu4EoKCgHC2hYAX1Gv2NkTAVwF0/oUJQppSD+pj2K9nVqrtbj6eR1oBck1c2R8Ilg/Oh90bAd2x3rCIDRmOiirVw8cisCCCydz+VgwFGMjGxjabFyxJKKahqI1QzwT/hBwBNb0ena7utX935sBkCoy3s8sWafuAqwlFVlBTcyxcVVNrhpYsoJ0+lUza8iJHy3k1vKhlr4nE7/2JFchuLg7C+x6OWCnuRJJ5238gPm6Y4XN8RE2Cvj8K9hLXHzS/GM4RdrYfSgcdm5BBXPZR8FHt55ABU6NQPB96cWZWnlk3mtBKMY6ZHVc8Ma0n34hAMa659XGkPdIGf3CRZtYz+n6exkmuN6thSuLWxsEfxHLCinw7/534fCUgwPMRPdHIhJogV21N/Zde1z7Jl4HnbvzLry2vSQKTagbtIdn/zKwri5e9u0sNoF8XscZ/7q2Ek5lM9TXxpTFkKQ2Fr0/qLH/HIOThH6uSVXJ045Dba3N7Qbpbf/dCP6527+NkrVb6WmJl9OT+Qo4ZuAnzMJ2QoHn0Gwl+jKhvI/FrtKC/1ojSakn316ibbA57LDdWwUI/SDlxRKcLdnR/ynsFj6FStETrkOaJJq5C22HsvFcCovph/dpl7BBYbsbCY9QU2/4xGX7mbiXbyo0bcG7SpDTiF7uN7VD4tFpqZjO8tNVBst9ZmcfiwJfMffMkOCgqU/1bt6XbQwCj/cDqB/07FRWMpCbGRYs5r0tHls0rINtx3R3mdl1XQ9+iWNWfa+Cbwpz5zCheHJtUYhhpCNIu0lIo97lt1bvLdFr8SDBalq74cTGj6lpZcYhPLzcZauAxnyIAogvCiBLQOg7DmCbBBKeeubkhC46P7M+7wfEV3hFvfo3j4Qkd5OGekgHJooYM4108yAyNf3xK5FcnxpDWuD4x3FK659SVVZYx4FwewtbOFeunSOy60s0OPoqsJ71XhO7mb3FylIMYaqFUYtqrER6ZUEbfqO26gPMRrJCMtuhbl2epe90OodZFk/4rKWH5Ek7V/Bu0myr1UQDwCIZgC8JhTJqCb0Jt4bUJlNpb+BVTw7wlaDyqpkGvXtkXMwyXKJDCrItGLaNhKjppCDBCF58h5p2mNlhqMa0UyKDxW0rkYT31bytdj10mj89m59GwzHLA/j4m3v3iwDqc1bPxumcpTLhUyLcjmjqa72pznYZThA+JT8CQoibftbAgl/e4ep/eHPoXLDORQlw2M5e5ODtZptpdgZoeOGyjM0HvMMYjTr4XOag9ZA7CzZKaz/hcYDpr+K4ziMzEiVQdusRr3hVL/VdekC7HjfWUaSltc3CTE3uJEUmlsmy4UqcjSY9Euc+LfZTUiS2iex5nbwtF4tFenDyjElZN0xRSBHcLuiIYrC82udKIm9yAGn1e9iVFWyG0c2R0nIqC4giuI5v0LFKsW9o/q5C1MwRbH9l9DZ+ink0HoF/onBCVmbgHPCfyyOTdQsI/ftvBZOuy04bfzoYrp69IjPP35Kfvbi9I/Gr0kYYunTk8Zl97ITQKldOhefU0D6OLYm/+x8HNg4OiMH7uZHffsc9H+jsnrY8P06kzdnQPGYSQUC/QAfa50W7uogGdaihbHCEaqCMmbcJRL7J8X9ddg27/TdZnGWVJ8YN3rdz8Zq7KPkIj4ZSqN9sRuvIxJj9OcYs/hP5Y6d9rIVpE7YzJXVtKE7XydnHsION05Zgp40C30XMFo3zq6fFk/61myXn2Fa5A708DK5jOBeWheD6et1YzC7Rr47glKnu+TSn87wYmdXCLCEOgRm9pXEi2xdaKgv4w5vgtx5UkdbDJvm9Q8u0hHkxRYzLoBaHrcWbvOrYcl9fbUpoUTjfoGmpyAtCCMsjhYityrCxEsVgsBl4jHkGOb9gFKBsUba6WKde6SErqg80WOv5zZCvipGfKkL9vAVOgOhmNFaD+O9UDhib5nNGbV4td32d8oHoAYxsoVhUntfxzwYT3hO6yFopfVnAF1/eDF6PbK1BPZZS3QoyY9hvgIMOPEcZm4GRquISnt03QAfRy+orUsZSTApqr+9VxbXBE+uEOb7dgLDWEdD0A9YkiWTNi3rbdg3WJnZNwL9UHhthnwrfYYiuOaX3r13BXuy9DYJ6bE79XNcf886uz15WruFh6rsS6cTtyXIjjQ3pPm8X16PXcebWDTp+ioNR5BDTYcH5Wp/BCgPb3mRacw21Lk4Axyy2MF4IQxRYrhaNv8BmNG7R4URrnFlEKSahq4fRSRJ/qoHkEEk9IgsvwYKghZh9rEmFU3pnwZWMqdaeTBrngQ9MVONVph4v2TPTHgP6LIMoa5CvbJh6lhVpPsqvU7qJ2M297t0VxfK0vxm/YPMtyz0H4lAMqauzwkBnzLoAbB0SrCPTfYEz87EmA9myPbe4Iqoqf76Twk3UnbZN6vvmseu9dwHtSdOEpixNvZVzkib6snO/13+wlzz0Zl1RStNf0PV3fbEKcKl5IN8DJULydAJbLWWjrzclKAZJxsXt9nCC6S4tQprSkb5k6IwA+1YsBQ4FAebNDAgT1obR6lahVbY2GIt513jQ+y1cLf1FS/9kk3TmHTa+wR9el0aWWgawhSrcii+1bOe299z7IohxatKNFyMFrV20OJS47n6/HyOKQV1rJpcaz/j/7mGqEPL+bXLTAsgoqvYrfSUU9e1Kaxs6feNGCCkiHyCxeSlSpNEZgzj/AideKbkrpClWPjFw78sG83h6sRHGYhL9wMV4mZBDIdTvSxuaep8FO+G+vnVLJnG3L2WL+25/RgoMptMONulmt9OrcSdzbiuaxsVdNQ95UiwXVNH9hpsf3GyNYEDbmgxmg4cO07O6SMnqh0chtZGNd/1mTCt7Xarf6I14dfjERpjXnTroL7JzP9qhhH+a7Tx4ujBEdpJU5aZefxCzAp7HdhadiLY+daqgeqiwys9iVsyCDdeSL76pzUr+8HHcbndQFUM2to3ytqHVQFsc04hQ76SId2iGtvRG7uRexwKB0IIg85iR7rwOaYohjcYX3d8NZnJKlxB3vjKPWOztTuIn1w1O/lpZGr924fxk5auBvU9r4RCgJcGOozeWItrGKj/Yzbw5/K+MDXRkPVHunGqXuv9kAUhYi4KDvpgZQpG43K9A5rEV6XF+O05trKMWTjSYUxITYIZgD/5nCX2PW0G/p3Owv80a5Cv/Rk/n7gHHIFVFrbx0nHG/QJHxc+jgbbtYgOs9mOdQevbIR4xQ/r+3HKEDiZVwO+fR8dB2oD6dGaGzFD1QPyhG47KJZtHCr7GK5tKGGjgTaAN4H13nVOjPLv+4WY/j3+jTYaFo+LVb6cIfZxsh2lzIQX6VsdeVnT6eZut94h2KEiDEuTEPpaem1ZS0PZpZW3vYqPLWoPQry20LXdaaM2tWrWDzzWLF2JMK+B1pLPIrm1w9aDFZQm2gj9rSy3niIgm2Hm7qfeLOwHKsXXDN9lk0c7SW2lEpihYzBHMZLI2Qkb8RFe1rVzdY6zO/AW2bRf9SxuP/c1iqxpzyAChQoO1lobMEC5vOURK3H/wF5BeXDHbYwoyyFCnzzRtiDOgRqco2yFjKF+1IoPjQ/Q5aIS8KY8RCJwuLj6unnWXYZ3FENyEjs4/ZMPAws88Mc0V6cASqHBA5F6ECtaAhRnUlwX8WHMpynBKmcSNGSPRUt4qAk/gvv9T7ApzkD4n9nA/hZqOHAcQKIfg6qZwnq7y4vrD5DI+Gkh+OMWHUNdyc2ohyktJFaVjhT+zABLii7/Xb5bEe+rCFzsEtutWDWoGsvB3apGSOy7IxUwT1GyLN/5A1CeAgx6OH+xzHTEjB+g4Orstc2qWqTntfh3otzgQNvBhU8XRlJTqB45IZrOUpOHwJ48wRVybx3ces31xuqstgy20F61vZtXwq3otWhpOwEOrXsBpfyd3bvOOIcFCD60vdMFhoPXYltOmX80ivmuOYdhS4jCS9C36Mlxsjlsoc6Oy3zJRPJmGaSRINrmTJV4R/YSym3EUJJVd+tsp5aVMv0fcDSDgGeapnjg8OnzzualvOtMdWkOT8HBFZMuMNLJ3+J1tx6EFQQctDa3AiystT8526rmP1QfWb+JgJrWXnxeNLF+GR+XgFLuMyvqH2vkjBJLI8ZccYebTYmgZy8C+s3pvI2kW1FA80zm6fXSN8EYIPSsu50VP5c9Km0+dtbIJxRFLXJ/pyhunlrkQZ0XSKM4XpSXvbT7xWXeTL9WANGrHXpxy5VaPgvQvd3sXidXB6EfCOE2W70ydfHLRzBYSAvNyFhbogVeU/3lH1VQciGDjChuStAb0nQdavkJcZzMeuPlYTOazX2ybooKunHm6ORRWvzT0NzhIX4CPzFU9zV1eRsAOZv5zRJE6CNa0lWErIbrrjpVZIxlddFaqgwQ4N4qHW4vWFP4Y43tuqAWvReSxU70nGWou/DIti3aKMEfNmhlO5Kf04wYWU6rAPBMSFv5uubC7OTRQhYuPgogWEKGQED6lvO/ehz7xgK226uwDHoBcmHLEXkSYrFTWwYnbgczsQlNDp/QlPpPbOYLi9mgF3JPpr7tj+ACawhaD+AcGlTI0DmM8rwrO92DLynpF+7qoH0THfreaUjAwvQXgCZCcIb9/Ziivbf5IW5Py/RQ6Oa2zw7ln9PoRliK8556zX0BJtPYSTxmxpQEqHitBsCYii/bJr/KvuKVG+/gQorI7U5xliYr7g3KFyMvNG2p07e1gTtW2Ivh9MJYd3ldKsrKaU1/wa8FXk0W20lClxNktGsccWQSngbLswYD7ZuOGQ2nW4r9gsMqEGITR4PdExqgUR7cj39sR+faFl5LKO1EmaxgWXKXesGXozOJLYQeoDBxDCoGboIC4n97xBpemlssLHwq4cIH5GiFnjChK+cmX0VDWpS7J/77rqR8Kn4jx+jOJ62bXuc5voW7CWWaJHXnku2kCjBzu06xCuFJxmYqZ3PviauCOQ9r9ioAkf1GQGJsZxX9GQEtTI54t2YWxguLvNkakuMOrEHPMZ2+12s9kRIQ4KvOI/ycIGlG1iAkdbESaK1CiLZjFRF9ABjZjog4re2z8VazSFnycw/zkuFji0On1wRLicP+wX6EueA1H5scuGk8BpusI1Riz0MjRl0GzCq5Y4mxKYDiigtoz9mvr4D2NARqgTfukGk4+/Sh2J6mUGwKwK6HIFpwRKk53IpHDfEmwmOw/gIo7K62NR/6S4Z+joJtKhgIfiHmmY1kI9RT79H3035enwfZTx6bz2jmjJRBFGehnhKzyP7JAIES0ioZj/3rCOyToT6HBcoAKVwKu4WYq1y9mnnZDxe0qq98GgG+bq1ppJ5+P4a5ePNuw4hCkzNNBDAmRMXFfycsNOu1bggHziiJNK4FmvQNjAUhGYQ91MBQCUoxNP/q2UZWOt9XG+EDimKqGrc8a0iU7nzMFa5Zn3DJP/ugp3SLdFvKsYrju4AfS+QyJvJ67/eVELACLrMnDPE/JuF+MIyOcGjbx3l0N66znhsyXmcpEKtU6O2Frf3mGdUwB0mWMPJOw8gCu+2E6C341GfjR9DHoN0o3T6Rm8Lsj7XZDY2BS4Spa+oMCrryDmfp6P0UxtKZOSucepg6CXa1XExLv9oe8cczS9rUrSKmRtQ+y9GFimpVNt4CWW4LLd3tRRc4ddonGGi4I9dL3mU+DF6aTjkz+ulD+O1xNPfGYNbYFAXUmFd3UpvtCCR35bnLm9Ud6hhqurtgNSPxcKE4VYZAnMIr+mhEMtwmez0OLEGxVHLMc5I/EadIjRNegO2F7KOuCDusGby/ZUtJpNy6L3Jn2DWLZqcCvhKpNiGfkHSBBhAzgX8txgCxSQrYscnaixdt3UWeQTrtwE1zPiUQPnmUmbjHlb8i4UJIz30zk1FJsKrCLFAVTt8vCH/oGeaDCAxCtFUFfyfA/FlBNdtTTNWXeam+svpWEw2x4KTaFUd863DDelVsXcks+bYA2LCUueOmaIo7+IfyUP6EN5EPn9eVe5bH9H9cn4AX7AeT5FZmTtBbwJ7vnSRGdQ4z9LbebqC9PL3EIpYYPXbiRoPo9R5aiV9mO9yGfkndnmoHOjsIbdEmGkJOdAEh+CYm0E8zEtQGcyrJyvlz4PRtsrKCfGw8/bOddNOc/EWUUwlSJbyqTD1H9kvYeEHG3rujDY3eh+BlOvd2Zs+sOCNtM1264twv/BeK6+F0Jonc6V1zsWG4tRjIfY8ZvWPirCL8eJBh6ej8kbOPmMCjFUV9j84NNpgD1mpmZ9OgmXwcDSQGrGmDl8Je6GBuvXi6qhCLJ4LoBkabBh3oW61Av1G0oJJyRkk66WANHP7FkKCAsLDCJ0oOCwzpCnVkDAOCfbNB7YlexUd9w7YIUOnnMSP4fCkNEMQ4FKow0m4rktzhKraLDon8gcDAvcahvPH6dG8AnKDXP6B/nU4FXuxIHOo1NNyxTaTdZWNzNfUpgXmda/ajyOMimUDZJd/sjgyPMua/0i2s3Pb+eLIzsum2xN3sljYt+akdXrVdV47dR3fBv2E7LeYw/gHN2BubJbM5HpX7mTz4LfQDb+1Fmu7wYSVTOliLNnSXdXKEr71UEvVjiqQIL8KHSwuDA1umt1kQbCtaoMuVoBIvrtnEfBejW8kdjQZDK2VAhPOMoFYiS4BKou1u+r7+GsVNL9OydrMFTFUwK2owXXYD1q3pBuzpcyOifq2Wrjhm7NZaq7fdnLH9x1QUdXtkXUT6vnho0dkL4PIXK2H7k4QamDpYGj5VgAlhG/E0tUMuZgFjSg4HimsHmN6Dw0xlZly/tKREXD5B0v1wa2PsQxRMWiGbCO/zTrwvlSsehVnqlyFQPn/jSdkUJucppJgblg24OX+Z+uz1ypoY9XGtmAEWv0PuT+QbLO9+A4pw512GVMz9sTI64eXi8txa+ONZ/j9RMZ1OIGhgamh3LHTuXDtDEl302y+b/6r9dr7JisOoYafbFyRy2yVrGmRWQmxhw/XcHWttnUcVw7PjUIgn8ECYNh8ursncJhpSGAvcX06yHP2iKFCUL7TUs31Kd1MEdScb5z+c49R82GXQ9uuL42srfMWkd8MrIrqTmvuJu+n5MrbZKuti79IKeIycDMSPzR4DVUTovWbIw++EbZ7J9V4CI0RqnrjNr3YP0u7kVEjs/fsOgc4jlPP4H3CB8BaUob6EhypvpEulK7Eq8f+LWNvinyseJHZpzeNiFo32im6A630HKg8AlcBgJW0kIvvvjqOQpB/6eMdYEHnDSr0gC3KJQQ5ut1m7g7Om7luYUP/zmFnPC96CP0G0bu6ZE5CzfLkkyvTYPaMMRqaHuli3+e6C2j4txS+db3NwRfuN6dOcQuGOxXLXzUrZxrxpyetrAQVdW5FMStpYBfx2vlO84CjvCytQzvP1e54TgHnAw89vAWcJ2Jds3amHTw5oSMMvMVuBV7bYBWKryBvgajEtaQq9dU3l5OH8WCDgDxWQfZkshV5XJlqrajgYu3wnqMPJMfLrHPGMPS1x7zkLjaECcurwuQB04TtAT9dzjN+inshdBcUJK9rqJBWPr6tVLjsd71K0UUMo3HP83KVxKU9Lrt9j3uRjRE+L1LAaAFr8H6ddfIK8wLqp/siwi3SIAECW4Mni3Y6tkqbLMjwon17CGoCo+1kVPdtA1EAPX05Hl/bX/JBvAFE95po50DxjzdVfEzH5Ko/8wqQkoOpRWsC3e++5mPfYcwbJzSq9NgKxpEGJb2sodSM2ksJgrfTwRZV3KxGr+d3nLinA1XP7gwCtYsirO8snPEyQyqXcJ6QuMPOJqrM+1vLjjkEDT2ye3hQkdxfT+lIKrk1EkcYSAdENJ87g1q74Pq7K95tW0WQwPRiV7eDwFcN3zSjroLzcPYiu0Vr9n2fz+F93VaXmnTcJOcswQqGGcOPBzdwuJmixeR+kAmYTxUNLwfdvEtsZX5BjW9JJZ6sdUClk23/EvoS4HBnQXrjzXDUbxIV8hv/jJVDSjl5gLtPeT7nFitfnzd+jJCVfKY+8rVYt/k6IPcyxqpDCCj2nxmbq07vKfRDQV92qhvyR37Bj8OFHIDR4x3ji+3EWCX9wSv0aXmfmdQs+kjMc/C0+iOLpTTZ8bVJT2QK94Tzljjqxvc0TUAt1iqsDc/8ATUjKSra5USaVwQflfxaGwlfexvnAPgcdQEU1dBTFj36yC4mS6ZULxBwevklAnjbJWmZGtb+Xi0NKs0eRNfTDk/eV3QQmjuC3NJK8bu1NpG3BJ/RJzK85N5R8xZSijbAPEGmqRsfD6JOwXaDHJfZKIBM6vgd3oKqK58b1lisGoS5pAiQ7AGT06BZyHpooFpOJSbIG/skgFvFKKckAMP0F5sU/Ed42aqFZ0+fKV7vQ54gj01O2LygKRJBJQQ29UvHQz32eb7HzpWXppdlCXP5W93sKbFamlxWuypNHDUInAvEzK+nbBcTWrR1PmWy921Ix51FchlooLIfIM4cAi3pdUSI8Jl1eSr36qKyM3VVKK71Sf6yLLILTknBpkBpN/3gTjooJg7f0FdICgToQzXaWXuPwbqs6He445P5dNCoDNzrRUByiqf3cJKnlIUjKR5XCG6IAwwD9Ob5r+6TxH7a0d5gJTJUBGRvuM0JNIzNk+5umozZzxh+qIArcmaZn6vsDa0OrR4dYMMDd2slucjUFvkU2wWXR/ywol2ytvnOFslxrxtj88ff5GOLmBdG+twbFp1faqtJJE2mops0uPgHwuJMMgY7iO+PFPkMfglNyC1WMT9xgjrB4Xo8SW4kL77vCuvNh9KJJZV/lfv5yfUinEQBYGsmFSEMyvZzRQ4B4MtD2W5jVwqIQy/rI/cIZVCAg/2pTdNA2/t5kGNS6YnevjiN//XZbmouM6DATrB92zZfUhFXz4tJ0iqhgg01rGybcQg9iAabqgP1wmkjH0mdjPB7E+5EY8OWWwVFSLB6+EfSXMN6ap2fRfb85kB7cOHyHdimJZ1Op0uOCXGU6zNhrkssCs4C+5t8uj0B8Rhk794evofkIsjhiEz3wM23EFZ3NhU7JRGLMllmtvrK9abdJEQU2Y69Ji4x25zAweCVK+n+QLhcznnk1wHywNCzR56hij4IFIJ3E6zs5rfkBrLVsNbUjCYYY4wOBER3ldSi44ciuogNKD5pcCtizm8GqifLPphmhj2JjNp5YhaCJADH9eWjuu91Pb8uLeM0frtE6VyQoH86W7ZhT/HQ1+g0LzA8Qd7hSFq4XvRRef5mpKW6gztn+EIXKHEF4xKaQiLV8RDOyflpgqtNBhap3IpnqyUGhmBEaHO2kyMVdPVNPnR5+8na5GvQ4yjnlLK+p3V0ZW5hn75x43jeYyWPEzVq4HkhHz4a2fljMfHZYdEFjPzQ9CSP3evgOa/uJ2xg9E14tC8rJ2jDRQqCPlr16GPDhjiXK9qXMrr+vcEMdt0LQss3a7cec6UBJr3ks3Nx8xVbnTe40siEJPfTUna5JFGiaTxxJh6Qa8JRGHBFMA2ChHz1xmcYaKEvzK8z2+LK59uPbeCPvq4RVjyIPjrqOMjFAY901xeMR/qZVMGemMhatpcrsMFnbfSdtpRRmQMxfv7itmhJ9KyP5RPXElLOupWYbnquhSLIjznNNrnSkwxZUZzfIAKeovsFLTCvLJLPLNpNtcQ1hlqLykY84q1WAYlurcqWAKx/eq8pGPxjii5Q2++x/XsXVjihKXjbhr6GF+uEL78vFmoas2q/z7RVtDj3dC415Mgp2cWlDLb2VtZVmGuUp2RVkjCjfbLl8Zm8jgEBuaG5FYq9R86seYr13/CkJTbBgby/EKUdz+o2eLJfpQRLlfXqf5omuONG5X8bbIUIWLF7Awre5ikh9Rz+4W3bRCBYuDgmtRMGw1posQWJqRtSselIiB4kixJFKEbju9az5vYTO4oieNJKdkLJ4FPr981GZR8KY5xxKNVBFTEgwDVYGDFb+IGBrDgIValJVH6l2wibchZmxU/BXXL8+8M2C5lMVXW5Emw4/TaJ8NFdhP/UA2dx6qfNzJNC8PdSRMXHMtx5ewroRlQ+AfObe1QYhr0plylarLCuDEYL2mDHCnNs2y6W/YJlhSO9QRFaFph7VQ+NlxBEX2NYviQCAmQO6gH5AHOkDRaeYFFWTZrmKt7yR0/bsyo4JoAM11OODHjR5349Jblgl/0oO11PVGt9HNjqlex2EVn0bazQShYfp0vdgzumYZG8LaYu2CfJEUQiqy9q54C3DBRu/hMk2/Z+vdphlsxGkb9vvH/pwXGRzpSyQK8v9XsI/fQCubvsy73bxkOB1UrSEP/tWDfzNq19tiqBUKaMHTHF27bG0yA5AFl8nRR0ai2cWdyQvbqlMk4uOqDStSSx+TJMsHNpn7aZfh6jpi1mulB+kU83xUvi9/NSyT1HfhVWpOmzjG74avWE3uuwFcyB28VzsXxb7DuRvysJb2PGNtCqrsWVZkNLACnoakKufCaTG9dOJ7JeUhLy/j0MZ7IC2NxXoMu0rxgPWjzwdj8eKS3al/btQ/esnHtuClQS8O3ZK6du++pYcZTZIW06xY4kQaRzDs45+bQinJ0S2yal42sWx364QGns2xXuIHpz3/BKhrL8QQQ31JFsytDTA7RjQr4XJQSEjS62LbOtxWTlWKP6SVNLIlNjOboip1DHz/c746HQvBCHEwEV66H8fRE0jBTEZq5SdIjj5EBnp286azb5rTGie0mqtGsMyOkPUaiG94KFUDFSpb3oxEwCh8s9eJ7ksiBfmGFiL2O8gYfqKTNIiF69L+zkm4pXXEl/8IYBORNKEI5eUh0+m0l3ch0sQnqc5Fs8uTNlIQAiAzh7n5VOTMEOehjIqy5VhdgA+y5yp6xoh234vuVk0UrnyN1YHBWSnSpErQKwaVN2CfZ64787S1DGm7yVWqqpmB22UEaH7s8nL95Pl+0sl99TLLfriIvjWsjRmSiD6N7acuILN7hqhytpUd9UOR3teOqUrZasGqXe61Vxe1brv75yJczzHzQfHGiUKwK20S6YQYhMoLGrvJxp8FOtAysgi3IteA4/Zzx0qkhbDj/T6H27AJdshXUn3ow9hPR2GY0scRpN26ukuauvNvV+v355sxUIkJtAa1SAz47TgzDEIehy6ll1SZS2zEl0e15S1b3Ctw7t6JrCz/Klk+1fnpm1RMlmhrVCN55US3gGTO1WkwXn9f9gXyfvV2ij+Q2hsgy1WSHV9dRj7yIFFhKyysWdXSOErEREEmehkEFyWgB6M0dkKhnXdip7jPemCe8gdjV9XCcRg0O0CeeBlhc2C4HXv0IhthkqlJ+XdKWxileXOCgPYrAAlAtQEElagojmSzvAEsXgb0/pHWRZtUk581rL0xmtT/WelJltMSjo/oqXDVTA6IjmjL+mo/wQeiJknCTRFgw6MqzV7yykCEu889+ZDk9vQLPnCijy6skswKlQKMktE/aQ4uSiaf6j5WN2WTTvmvuzEDc2xYp/rwSTNaJshf2SXgXj8QQKpH2EqDoAAo7zSIH5fXXu8aKebw0JFiA+XK5TA2FanYK2PUNnsREIHqA/YDV9xZCHNVz8hayRzdM+QPyyvD0LlOvzW0ZwhI7qYigJVmQu4sjT/5sA2Ah8g1TJMNqvo3aln2+qfqmocupvMKzonEIbuXPKh3PDpGnHqg2cbejw1b3wVTgHn0M7k6USqYXyC5vY6T6/xv+Dqg8Cw3VSby5jiD7P+2eLvvMOT9Os8evboViVfcI28S4FFli1ERp0iwxCF1O20WMST4OdAXO6DQ2udedddc0XgpqVgcwH6SItrMVfJeoATffidQYyfs04R9l0NNwO3pB2s4N537YvNlvBPJDQaqXPnyQbTLFYisg9+bqUz6h+jEVNF12rxeEoP8UuQyEsoM2Wz7E0Ecwj4ZJn+gPzwdGVdCYeLT9LwNoXOJ61eolXGxoGbEefpdd6OAMUOJ5zC420tIkXk9dqVHDMMJNkYAxELGwk41XqdfF/2h42hKqyKau34e/DHtqzRuuIIEuMobyGjsWNxcxbElHb2sScTScZiDB2FAwkSfbvYhNTzq/d6vvG+1ijEYTpdV9r+mmPyrmCr/F4Oi05gH7x6/mHDZfJq2FdF84uFIdfYDlV5VOvM6s1PzAb05B6IuzB46VooahJ0BMy4e0gsKSGOAvpKIHNpCf3kLdIfy9ahU1Uf5hWKxiEXPBBuyYJH3DLfJnQsRb0oEcdviY85iPRWvM0be5G/6Hrkyf2e0FjlQIR0kPsK2MvDO7sN4PDqZjZ+3mqhc7m3Pgj/CozBc6pT6abK4pGbGUB+b3ZQXyFamIFh8BYWdCjmMzM3kuUmIxOunttK05hEJ5jTo7ws9Gz+C7RULKrlZoVz0Sd/pop3N41RDTY/d08qWRkAQwfB3OoRG8K6qVu9YZc3liVHnsPWId8iQnYrW7Ld5/6IicDOyUM+8ynWgpPjPAfNon8TYQc8iq759xEaY4DTYQyzLTDWs6KA4c2nQWmrlw62+m5dgJtiygrHeWVCRQghWJbEGm2GaVosw0xkFlMPQCqXOePLndzw4TcObNTiH0M6IjVOXb26R8tqCp4QtVEd5amptI5cXuo5kRtueuiZoLZA/HZp0kn9VDgRsXJM68c7+8zNXajGAaqWaw5siEbSjD0l2pVZxUYKDUyRLTVmytGWZhaZrK6jTBAzMB/CSozPR544ZQH+7/yPYgulhpfC312wP7HOC9PXzc2lW5FX89aL+RA5HJGXSrNPcebwTaMr9lFHQiwqAj7EB14JYbo8bt3fUCjLf416Gu6PhLx39u5Hco/lcs9TigBqP9fE6VlIog68DErUDbSZytlIHQLhubhmojHjHio8rFY+OwtZSnam93JePyPUngmOVvZyWgf9H7p0jYiBBGM2k71jeqMK/3rmJUiW01XdnLflHCMldRQnQT9/DviEnwNhXL95uiBvTurpZhHSwsMzhKn5jYjIczu3wHGnfPtGwcaN84umvuY1FgxbqTW/YiMRGCeexvdSt+bvnx4YAWVMYeSPYJZxPiwRSmLCADyTrpofpgPmMfZ+qntaprzhr2dHb7YDDVnQlpatZ4tG77mpd3LvXXNRjrMH3pF5ILBI3+nzrVnCpQkshD8ZrR91N6eOdBom6bNuoiVVJ7/PpYbkFp7+KVl6OOl/XNbw+E784kp4jK0/wZo0sSU4JgswqGmGK3thlZvheH7E7RcMLd9IEHjDpkfwx2ZJWFbeCy6pJSsvpUWEv8ugRyg+e0KHuM57ujMqZbh0vwTNNLjOM6tfh75NNK2CiTUXSaltY6L+KJCixJ65UmEpXIFbuBCvZE02r6cwkCYJMROT5W3Dvr8Ysl7N8mti8GjHypmJW+SOMHnHobM1tq3f5bNOGsJlV5edGkjJttpQSnASCCqcTz68kzfyfZWK6jUAoz9Jk71snOZO3oLQDfULE/CSRqcOhJYoYyudbAfUr5Jpg/zqpwjsKkUiZq/87omjDMAoZ+mU+NiHLR6GiuEdcm1G+NWVH3WkeUTyYGsQoVFw8svy74NbRucfb9RFFrzrZPwPjvq3ccrojfT8GQwaTzYjQTT1LShmHlnWT9BcmQT6J/LCtXjUUvQ/2BOUEZVsB5595MH7ljS8YGrlKpivr0GIXNJJdPsVX5/7KFx6zANaRayBQzqvzdj62zH7RX3Vcmj8EY8K6qVcv8snBhzb4K1mAQkMes6j3oC6/yV9iM7JKq84xMtRHBce/7hAfK90FUCSmXqpqaY62Zi52jTwbUUfQVp7SVAo/z/xIGSdfGA76eMLZVl8zC4bx3aCPOrq38SQBzAnCPbDft2Zwbl2/EyBFeywwMhss+edoeaAmFLBQNUFayYdDdZ7AFdOFKDihuNpGWqzy4L2qjBXAEAUWAE0estOmCTxTzkQt6TF0LjqoxhCAuuSmzkaGWRw0MS+gpcUAHzqbH55K/dfH0+eOOegiDs7iUc4ROcuHqQTuXLwHO3KTo3wB5t6lM+qPA0Hz5CCYw44iTXfM11KXdi04MLqSWZo97/C9lsCKYwC/rfErXQHqcJCPglQJy789LQbSroX4VbOp2rFl6T1X4vJ9pA3aFyU1EMwXNYM1hnSzx0B2pzYPVNsVJcoAFJSEFrMAl2g//RQOMmlQkwg1CfUYM+MkzZ3RLSB9Ou6tfcVf5YKUaWvfAwWldDnhmcYwdhLRNaECaSg2Oj4Bw6MeUynFU/Aup67uDFkJoDJLylb62XFFFunAE3JFRg1s++l2X3oqbs+tDo9JWnJN64zhYe+coUwVEXHY4LGiq0P9PlNpDkpufBAz+NENdJMpaoLJ3SuWNgMeLNbJbg+Oojut4MzmbU8GntxKBtWVxlqTZCap5EWERE5DKRfftj5XTu2b/5yGKLghh1LlYaGStt2FDECKu77Zyo2aW5qt7A8IyBXdbg1QQxle0cR97B41fj5cKQDNgxikcKCYUUJYCLJtFYO4WHt89+rG97pOZNfvUGKgYnQNWC/1S2fA+e4C+uJqKMaNySYWrIlYKNsuPi5VXQX/ON7X1kBjr9HWxou5Xf3ab2D4jMeizS7/UDo8fpzWvedd2hUZIXtXLvtakJcOtwhWWD5TFjIdKZYBnQLZt8Ai+5bIfAPRJLSbW68Kik5XpthfyHcPS2r9B3yvMxEi7ewr87BwNp97fN94+7j7CBSAOnE7TY29QLr3rIhi3RErzOaHf2UYpBj0VGk3z2GweMPwyOC9hzbmIoAqg9r2enS2oplLVCK1WS2q8kQ8uAudau+IesF763ymvghLzL2UPaYAR1ip3y1WmAydyyoYf7+iziLaoDptGzDpGSHIKoHiU42f6/sfNkU8nvUY9o3BjSjrjjokAnUtEqIuKkaddVOis4fMy+V2SkivRCbuUn5BBE4BYuC/gFKfT35PWukVfYXBkuO2XgyFAFhN3JRIVakkqIlu0QFPe4KQ9ibpOmGZ4FVZ4N9Sd5qt+bM8KBHcSWMYN4ehqW2lIX2iwWkNoLGldrrReDTm00Afj8qt7i+shjBsutdlm8JJSIa8vPm+P0Nv1PyRcbh5uO/ZiYiAxQ/Mwp3qteKiI8TihBXJzfyXAZ1Wm4HLFHa4kukvDfgypq2b0743mxEs/XKqbZ7FPkvuzXU4sXaM6Hmmb9+iNNqj0ovfhi6VVyCeSn9xoIDePizI2VP/dvqu8DoBTHZgLrGAGWa4aOCsp/e09ddt+Nu2qwiZ1mzlguxWeDwW57Zr7oafEq2B+VoBNHwBrUisHCktmip6dIDMFhS7SdvgrQ8c8sywGHKClgYekdSL5rVQ6yHtJTewv7oY7GPl39WTNapTXmiCsA5V+96DLE1d9aJ+RqihHIS285itLGaRP5a13JCXNDG95ybRl4YrKyHHlOFFa9HKHQaK5LAkodG8axl98gJHKHOhig4fLDOgApE19TEsbdN+MF5o+PnsEBYyNgJEp5GiZpg5rDXZ0elL6YK2SgLyk/HHHsqYWAr2wCXBqMTBfvF02MNsMvZR4h0mbdGpilmtiKiN5mI4WGLrg2+A3vW5CKYaRYxtRdWB6C00Bl9YWdEkETDj6kN0ZInqZ1SUQDk4ekIuN6Ht0LtnrgilBgFLEMqqYe2edfLwTwgk+q8lfAN7Ee3YVcGiNWfrnrVHq/us1+gs1n4tcUIwDcXbv7RKbT4WrqbLWKJP1EN8KwRefvh76Q3dW726K65+9pBYPIrGwLskNCDB3Qm3vuV/fNauBUi18RkKDTxiOlJlMm3L56bhxkfXwhyoNeEmKtTL7PV/sD45fFfAZ7EdMvesD/mPEWeGuafVQUDVBpgIHy2NYf3ipALri/UEK13fFxfoTbMSi7yVzV143PxMZ2GMdDIv1tqL/IeoPk9+JwdJhPDbq7H3KMXnNa+52Il4ktK3D5rD++6EIj+O3LwRv6epdbg1ObG3m5sd9EVfqrmAfGFUaGVkaM1NeuX9TYhjWSY6fJNQ2XoIZwX/h0LkP0V/lUPFxwJHxFlkGtxG2ACY51gg9CsTUaykXAXXqBu39hGMQkxdUsRbyDIC9WpBiMpA0O/WL+8P7ggZMKhOCFvyUsFr/gh+RwHeeqQC+ZVvISrF9QO869DMHpGgd9AN3n3i0EO5BN5LM2/H+pjWFism6oZVBkt4OFgiUnEIws/NNqaMSbuB97NX++M7rIISL+IBMNN6nGyAQk6uep3MeSsWQC/8mtLIMY0BSI465qdrzbnlGK1SosobXaCJHrXjcoOkg9lUAaZwAd0gazWM1Q5Mx+qSc36i0/LKEoWI/vLEsauQ9tusE/NREa7v/2AiLES6NspwJn9XK1XnW+eKYknOA11ajUcmcZLOJg4T/cG9i2KGzlfhJLAsJ2oM2psKb7ZkY8z8xqokMIrDFNNgWOOhC2d+X3BdMO8eothxXF/o0WURabOrVyR/bLvq7jUSy/ondnxntA/WrAauAnEc0LI3+LlVO1Auuub5fLbn+btYLNkZF4GcitPF5iKXNFEruhK69yLRw9jMcGJqGcb0U7YXT3tJXLwzDefMMJ58gXXKY1t7HBNoommdxh7oJ6VjLjxg1cyeegLxAYqqu+IMjc5NNW4688anAxlBl/dQwmYggsfp85n6ZTd/i+SHyoeB4TqEkJRARrqA1ufeoB/tKtI3mRtGqGn/p7Gszlo9l1Lvvcp8HGCc3JP6jEVorwa0EgV8hb6ZFStcV5ZsKv5mF2JohCDhp2oqeRO+1eAcr4uwS9vYSpCRvcIfdBnyes1Db5gmzqam8dnkv9jaSgh1xudXHQ7G55nRcIs3b7DSAt+kbNiR5/IUK/I5n9Shp+VoF6UXOCguMSq65cOI0QCUowKey3pvTIsHNZZsbeEzY2VjCyzVIao1g4fIgeZ3X4j50XQ5xAKTp81msLpPuJwzKreAaygH6zp+T/sfHlw2XFSFvyRQBfX3ArdbKGL088Ral0tOI0Y656l50n5efZo4FyVMTqYD62yXP5lGf0fHqLZHZkdDGLMjd4jO33xHcoP8OFplfdL1t0nUbALuTVsv+ggr9Q+rpj7ID8LzGk7gLLm+7LOe00HvZMlxuPUVSzRXIWPMfcPLM+5SLmReuqioNzZXHZuTjRNb9UIwVZLdnr83znP5fZ20FOqGNV/bGlzdhj3NvtpimAdjQXy3eDBMG0ZYMiB6zAHWFevVXmmp/Z8oEEJUDOe21Bez7WHvQ4I3zP08kG/kUeT5xQTFSlqiOFq2Q/hYU7X3Hw1WBtj8i5j1Ynud128DQbYu99eoKtQe37iPXy/4SbeOF8xdX9CxHg3OqUgO08oheyR4WWdS3eVrfFtQMnERVrvQ3WTC65x7rbb4qK3GXmrLks2xqDo4+TDMIAk6C7ZY2oQYd7lHNxCljHYPJVHIhtkHylpwQO4aNY1al8yC7p6eQZBW41IzzCBD/F5l1nvBO8W2b3OGheqbJduNjR8LDG/7vaT4DvAAoE31QW0lQ1xKMTnBYoce1Xk70dYkL5GTdsLyO4te6rXG1LDg/tMwIcTt0kA1ZGgRUUzbVXOUi6wlfPk1JjoIRZisdL/WDDeQt4WVV4NKS4DTreSkk/ZOzUrIBodUpqNoGlh4Ou6pWOFYML1oss/Z/dhwpTgzezu/gcc5dAEL4bJlX/LptSElpnkuX/lfHae53A/rMXzQpj7URnRdgYqfTnRgEpWy7NDjqc0k3g7oeH6xfVZV3WJ4yKLERVis0JW0SRKRGXg+2vxeVEQ3CqGajDHSpbAjL1fKhm8ZKSL7D4h6i1toh8NRwiqqADgBcb73zn6Aod1eRnCZ3nFiSlb13qcPiB5jUVC/ZFzZmGwr8xPbD3WvvKmXO7c541S3ZTHl4VvWldaOQaN8Ek4ep4PSX7oD4IbJ0eS5aPa0xez+s52nJGCkKXmV87SclNWPtpki8bd/NVkNxjGknBg5D4uuY7ZtIwuB6RBspLhUAwuJclcGP/Czm48cwcp73G2zWbCb0xjq7QQKf9EQVtNQy1SDxSMUc0ZyEvDSTmS6U3htox9ccsRdhuQ+3pOQCZQ7+ozjYnRfWPFUkaObEQxn/VlvJ095xCZj6a3zcQbeMGt0CynX7Z9h7CYD60tavQzURJI09dgD3KieyXXfjSdZi+TCpxsqRjY0EyhPL1UmJIhP/NkDugzGPBPxOQwBNaospHcp2LR47/bJAjExvXOjLr6tkifngCB5qlE8pgPEPfYNBWVgmdbJMkulzaDsknkmFuqtS//HyzTgLYKihoxns5qGdGRWyUo3v9mn62JbOqiKuXx+fWrwLlXIucCzwQxEgMhSanO9FQ/MY7jXtTiRwKkrHgBQMCbWqLng/0psxwvOo6VDjKE03xvuCnEq4nnLc0wX5OaWEjX01W+TuucaClZCqS7b2ajPTKZlYriLTQSm0Hw55/irvFRGsxRkNTRwlMEYKb0T2FMrFYiSB6vbqnu+P1cg3WtJj+g1WQbzRfMZ+OQWeuf76wtPot4tuvGdw98Jjg0GW+o1YmY5GEn0wCO337bvEYwvoLv7d4PZcV062JsINOvWmPYauqNSaLZfBUSiAaDNRLHf7tzZ/HVjv8MwnLwOtscrRFq19GK/bTdhz52Tg8ulXJOmFj7EI4BbDSY/VhYCZWJZFu9HhHVj4hbgMVtrJLRjGixbx2BL89Ug2EJDTTbEfbNpHpdcP0Cra5UoJO1vCZ6iQZIvZUwFwgTYco/dyJ6W4W49L4rxGeNb4VdWAbXpsYNLqQECYMIOj5erRJcEv3VqteaVTpjLb2GeQ3Gjry3g5h5u1TaEB48ZmwoYd3a9ncp2BZc9+jLOpyyTjBzK2siDWRnzhmICbuX7yuGotEWAy//EoBUUxKOZ09WqwS/fLpX/zsGtvzt7nRsGBc9Na3sAbi5dNMlPT7je9/PuZU1SjCDxs3hjjEKlGptZc6lO1r4w+K7wS4r/hKSM5WbuuGhzJ7gTO+46naRUaRRilGUuWHCc4/pHxFnW0jhTwvtJzTGYJ7bsFuRFfSCwj4k0vsRAJwogvaw/p6/hkxOSE7nIY82yFTlpViYW+fPnlwh1R5NTujgi8gYDsadPAV7N7TRnFCz8b9HAgBbd+rasJkVfIWQONxEftHb0zb/2DD9pBbTwpvPMskWYSd/tz2CerNyG2wqM5qR5PZ5zvctPAIC1fZ52PaahcMYAnr3tm9vLPVA2esTOg66FLyhuOV3TUeVdwP6p1kj8o6DH0AWp7P5rbOHYrGIfpnW8eQXi3wK2lK0FdKHGFzE+8OEKE0tEz7KZGWdJsqRzsiY+HQu9lUK2cZTCLGJgNDVHe6AqbP9GkMRx8EoZRiKtUFNsrL9q8Qpnrg2a7HmkQfCEe2bfKF27jn5EtO/pXIuZZmpK/LJ6b6EdjaaX6Ht+Hr3CBLz8VUOLOE17XPtMz8AkqrPbev/7NJECyWglhx6TLCQQ26l6PQkwvRPXhalb+W/fypb7iB3TgtYLmyf1qv1TnkVqG/+286KflXq2ElDNSl5/D/y70nPoWWToJZoSmyNTWwfHdJDSg9lmr1Giwfg7Ie3FD7/lTdpe31zLW2PcBtPuawiBvGYMGeXL1vMesXTGmeJB6iEmMwMv6hy7aol3JlH0Fr3n3jIpni2Zcr1dRYhtSq7PnJ/woxwtjZ10r3jerjZCh/u6ChhYYLc1muxo5a2RqZ8SCTFxQRKXIzo4QF10FqMq5gZl6tx+OWTJTBkDE1MzWOdj/aj96geqMKeWL1kGYjZ6xuxf2nIQ4yz9cFnVKgGAuLkEwAqX6ET2U91DmgjbusabloraFsM5ULFWiM0JHCbNztp9wo5328sG6HQ7aruKXgA2r2qlfvLKYSgSZjPewveI0aWWxAF0QKEAzCt3uHHGjPcJGVX/DRcvJposZ9/j2axEAHQOo1zg+nwntVQyOAbkVY8xpzDKnlItO0K7ryfOLaF5spU4G7GZn478VhrFPzEKm1M2kJWZUBFznuMfs03Z3ob03XBTmf6pGl211Nkw1nNqbyNEL171+EOpfn/8capnBs36yPBnFiFqiW872S5UsS2nFjmGWv5Ek4YKJWVKGPvuajk1oCHYdJbrRe5GOIbezmnu3FJXNCl7XejZPLUgDRtL5zp6YJcSFLXRZ4n9FnbsfH1AIkwpvyMR7Aw3Miyy/KY2/n/OHoH3rK9mtMctrSQGIcLeTJcV08YCbPTEJ836djBQBnYTVkQBEjB5KmqzixyHM6nR+mncx/JSOQ5uISV4TBcqrAWDxgbjWliwHuGwuUbRDiCsx7Qg94nJ0rn9oL5GgzqEOZOKkKhNG1UfsCx8mhTVxBvt6eIG8609bvsCT6anlMDB5UKpQBKYibdv1HZKONf3IP0f9fuPE/ZmQHCGqbCtkvVnxh/x/AsE7t03kdChopOXUp7ttjuxUgM06Ajhl2NZ9Gia79HZ/r+hCqnx3J+JZMOO5nTgdO55iYr/2fWgOgMgc1RdpminhHeJNnT+YrIJwJmSnj1manv40zTrJoJdvxgaUmqW6UwQlCDYlsEEU18zoEeKwfvA1MXaj+oXyge2XTLar7Nh7U+kPZqWf6rJ9js6cDKiSmfU7JSFfmVgNPnx/TYeyUPXrQbQhCSmbV0N4iClaq5aAB2iqSbsYp/G8PoyA7t+bTXgGODPhBO7Eppre2MbJpquhRVVPgttz9+FGe5LT7p79SgIkHWytgeCljeeXGSPiFE2LP4GRsyAipBICpbVSWJSKxJcO/hGG9vcyMllqW8A7K2AAZsuOofLclq+B62jrO+FGnVChevwsrXEXH5duNqg1DMQ16/WewusN2K8mumBb8Jm3OKKG+gSSwRymkWwtWcUXWHMD0WYgZhWjW5GzvR3LZSYnx4tA5Pb0G5Mfe8hhEcJI6SZxDxz1Oc3GYx5r28N82OUAGSPVc1sJPnFtAH9Sl0agWLN7A/N16FpZzX1p2au2E08N312U3jXxYIK3nPtLWeJN8u2IMN+saVVrk74EG7rG25aW6qWyjVZPE8jlFU8U/K2wuUBuJ+7jIe7vnpeVaYge7HxwZGYWYWpaLb/6iZ8caylmpai6R/3PIu5VCOfR85dxCh6n52LQ6ci2+RCY1EuWXPgJBq4K5s/YllWlzfjkWg0nMwQhNYZj3t7ZWPKP98U0bx6nOtjSEbCa5MPFHSkkHDVayNmGyjcXjF4RLwFY+gam5Y0m3Z+HexUsWXenyMih+rNP2VBy86t3qUUBEtu1aHFLqa/kHZMv6xYLrCL/XnP0RsUijEenQtBOpQB1zENl01YTsH6WaWIdKc0XXXFIxcjVE3CztTWu9OSEp68MXFlcBr1ofR57oUPJbx2cZJyyfgHeyHQjUrLfdKgNAJmuWljvYn7bLiILxWS103k869EG7ne5pRbJi0fEDTBmbnB61riajVfM3M0tUeNdQCK0AwnZS0wg2oSX/vGJz0pqtW4VYujxWdYTPIym22ib1N3DPEOzRpERdZstyLXEtdP6j3eu4IjOdFCQJ8lc91LalKsELsvEOkr6nk0787FGKorGOuA6XonpGsXvvb+aPYWmaCTmQ6iNj3o83bBG2rh2d0RSSUGs3cL23FlIJ1yWuL7reL7+fW+WUMNYMM0zcmTMA6OkSM17B4eEgmrrg9xRA9ezIDUNF5mVKI5EnC8s2SIFeyOX1sa2f9bKOm5pRvdShKEMWZhyhOGZnyuO9M710GRaOYDpNvmZhptmGPAqe56Q1WrUqmSX3iwXe7Io1txgU1etMHcXvoj+ObTKVdFudd/kKCg3lfOjoP8qJat9QKi0NQwtUcoQbZvD+zcQY/Rthdv4t56cvETUpJWGbjY0r2SceKjZYwoVfSAboJIQ4oQQ8pnUh9RikO6pbV7ZRsBiBENO4RHZ5n2YasKTVl9PuNHD/0hRemSssFXifzwIjRYTON8OCEOwr3M/zKVLEh75z8HLph/Nfj4JNPr2ikRIRpjRyFM2KnyhXShxmcgfLqSXYUU0a+zTZPIrn3a38zCrbOjU3FpWYjwb0vRPvJfxk3GD83BQ0BX7IZcZnJboIoe+cHt1guDLxzommV2pGAfCS/8Bx3Eiu2lMIbfI78rGdvqnZVyuCEq7HdoH2b0b0ISn3ZopclK8t3erPL6ByRwhReFiCjgtAEc11mSM5keX+evqylOKTYRs6ZstALeCw/YHnkCCA+KOuFpKHICfq6kKRemCGM+/8smGYTJDY/QnhbpJOeABD7YCQ922wmNaOHnC0pX4wqo4NTcxHqZZpRccX6KDRLU2xhiSwZ0aYg23HEh77HqbnMxAwD51HqTapZCN4eYGASHA1oQUMT15zNc5FWk+PIy1SRi4XOOkQv0eTYn4i6GZDgq9F+TS+8tp018X8wsmo37T0VEaxxpJi7wUXsP6iDBesRWyhovk4sQmnpuoQ9OH/ZAFdLtjifhRUSqjOmTVJoBcYREgjd2o0fQoWh0I7FB3u4vUSiNUMux9VcQ/Yxoh7d4OPmLfyZ3rx1xtJDtWaFAWdx0Rx+WuikgDXeavXnZrPIL/fr7LCI6DKuH9R4cqdjBJwgevGH9MRfn40mYGAeZb7YfWt8fU7VQTJS+jta7fr9sgngyBxZFX3W9O28PaeIxnug7TxCME3tpe/rQGNpiXYHfmOmiUlHbbf+bgPFYxzCjz7nHLrPd7BLfjjb8QTyMLHsfDv9cXj3C8XvnH9jWiu+I64VIsBZRALeVc0A7LiRvpCMw9TCzK9scIDd8nRFJy2rHOksKVHfBEg6hoY5XB4kSdMcSDdVH4c50uYj2HXxEVLv3kKiJaPdkW0Dp9BzG4FB1HB9PZOp44b1FlAnwDfbSqEMwfW/PntoVggPBgCSxbUQU27t6U1al1d90zVPJiDe3IP42xijv2ehsPTIQibn1+ntCtlGclfI5VcGBCiqwc2KH/QNJTyYnDylXlVnx4/7kU5MgHCMRBJoK/s/1PKylasz3DlbSXet85JbDDp2f8Q9kT/Gf6lN48lDKivuz49LpchqfVElNwXc9r4wWAEzUmaGdfebdoRMeAvPGHP84ExqT2+WpCPFwxiFGnfd+qSYwEdeUZKbsk4m2cv/9VpY8L7C/Vo2r0wQzQTZ0q8o2IUWZi2jDpbxdsmt+ovAw0SWytRyI1Ap6jSeNM/wKINYvILn14kxVbUquKDHxjkoUAkERsw+W4gEMVCaM6XxXK0IDMYFYnG1Da7s1bi/miJL7XhroZbWUzisFN8H8kICdxH7ugp6NPU86asMx5oEjaueu95tdSiSgY64XdIgEpsmnoFV9rkFFjmsoodR9K76XlUgCRPmwdEnJ9B0XygLfkMFlIofliLBpnNsSTqKl4EsitdxYj4BTYnIp3KEUAVzwAvwjd6H00mlsZPTKR1TzJ93KFmEEe7XiAuJEiKMX1Vs+u7yBVKBXBR2rarLvHPVNBVQY7HRA4wahR4A9CRQ8TGoDT5Xh7wPktoIUvvaeovoTlKlIYFe5+WcKuj1RJCIf1dbJCGL1rJun/dZxbta9o9nK7OR3kxz3Q5MXWhTc1FIhtAVAUy5YSaJlpZrhL/nhKuoUzb26u1gJHXxLhK9AQFCDzHX8HHvNDIEctkrWEUOVcRU3GFW0RBTQprWK83AeRoWS97HSEEbaqEnOU9C4YudHYRarMi5lO/vjY+nkyvcJu/wP8NWcfe5Uz9/s2tnTbSZz1FHr8A2cHc710b/bhcmxVR78bQ8zzkLIiEZGmMYdjppljlgukmOXAfZxXANLfngG6OBIp1BvHCG5wGrFiHbP218ihW86j8PuB1CFJjur8d2lZERM8ZINQXUXmCq9HPup9wkLrl5MboTfvHY1h1JoobTeL1c4jd8MOlT/n5p01N13UCRWCBqzl7NRmMA9yNf8KsFYnqIvw7psolK4mI/CwdXEb4qX7RqiWCVuQehf3FrMogHrazHSNOrwOF8EOswv/OfIZObiOJRSeIVxQUJEa1YF07JowGAZ8+3TvGYQ8DixJNw+hqv0U95alcFVJAeTN1zoXBE/3Gci+Zk8KuTUPu3t4B35McGVOekRH8wfgYTN6Wzdj179BH5cq/u5xOSTBTMwHSLDCKN48wmif7thjK1gerP+DXjLgjUbWIZ9kvVjRGSS181ZHVrWcUUhUfA7gdmAV+8wKzYnf4uDUPswVua02LTVbpdZtQkBUUjRTyLg9RyP2ccqh3SQYQFVKzF6gzBYyne82vsLrp7tS8AUF0+cf4+Kl+SyajlHGagTV9/eGM4Tz8+u+BQCYFPIsjv1hiGWXI1d/PFDM1qD6yy/JMuwB7SuC1pNaKhK1bD1jW5W+Cx77Xqv0NlWK/hupFd3tT1Zgg+3YCHK8kDRqXHhsuoghwC/YTI+/BhmewbsDOC7XIa4ofPOWcgRd75W00mT+nMIs9SUFdT/aI/14jgrfzJHOFb0P7llNGVAAccMkS2geHqUi34NeKrxfG/10hCwMKpfBSXpSRTyc47SudhH8NwR/m09xX/TmlaLlCBO0uKE5lZLiwajP3q/c3q8X33MmKnJVG6NUk3fqF+xn575F4VXljTdyVODPS/dwkKDVxIO6eU9s/PMfi9U77MxDmg8kd5HB1l5OyIkCupiqnqcZ6zs0/kQM2ZI7dq61WbeV5laQzj4T55c+gprMauV1Y/8QSPN/breBFidU1pE8SxCu28O0vcseA71irhqiX7rSXwtkevP7PUQFeFmfvBif04ZNHieLy0nETigMUGkYKjcDThDt1FxVsuGHBVoT3CYJMp3G1ALiAvoT2WIHxmdhwejVmyRF7jwy2P153BpUqr3hwZGXnCWVZWhd7nju3raJknVvVbaeCI9aLfskUMXPV7+oFh6QnLWzoq3IVE7P9CFaH+uoj+pMVChljWWeAw1esgJ92aniQv0tWDSj4uExuBgGhpTdC4TSSzX5fDYOI4PgdzDkJfAnwQwRli6N1xQOEaV6KM/Wzk+G9jGcVeX4eGtJpozJJKquk1Dwu+Gm3fMh8ZNw3pq99VNLjfYPvRtUqSJcrYIj96DOGaLXxtXs0yzOuFlMQecRAEa9hYQc/pxFiN7Yoe6syPVFZmfaa+bSTHJzjgkxi6v85XJ53Qh8AjAKuvhSCymrB1YN/rvx7yUgs/jOYi6H0f7F93Am58gegmEPu5ksva5KhSY61T1NSv0+G96gvvAcu4s7BfJ8oTCLyxd9m2p/BL94ph04TV3p3vx2fIcbo8+ig5dduuJz4lyqDkdpqTy3HNp526pGy9GKQw/22cVtE1+ZS0FFDeuoWOsYdwCebni4NnkrBmK67lzb/AZ7L4qC2CNYKs4PLzV+kCwzlADkHDCtHjRivgNawXajgxT+N5YXwTBC6mPaTSeRhJxQespdTvC3mCnxylp/Rb6VSEY5PQoqDjmjqs7DPuUStfycBXYK6pcqZoNEt0kn3GdtSNF3SXDcliWauUXx4qvJ57hAvQs8k7Pul2dbIkKXGJjXAWRt0JwGtVOXgZ3RUzUPvVdZbkcRklGH2VVFGTX6uFow7dNAARButYSj+W8HM9xsD0acYU6f2QEx+ZGuA+Rt8G8F5604k3H0XvJt3+bbkP+oMgI+zvDp++97HnI9oOdT6xcguFlossZwgSm9FqryNenYlj7TdiDF1Wh7pGVpXdJeeSa5cyaAINkMgLKOkGa0wh/QJXsaGEHhcrlwB+pDhZRznKL/1KuTbzpHcFDuFJA2MH9gP9Z7++Ht/Iq0KOS99+Y/BGL5vn8b5h6KGmW4D+gUdpDfwsB5z6lfjjs9WvpxXFCYxFaMaW2CDDxtciBJdGTTrngw39UjfWT3SVZqgMlMOwNX3YgP7ieeoXzv9gAR7H9Zeguifz2FXM+LZRM6lY21jZ7xjmyS0n5pqJRt3EP68sonzZZktIWzPoeqaULEbkNFuBLk9jcw9P0g7H8ZIOz1r297HPg9o2YQZoQNQju9xTB33xUzmDymAz0NYX4ZoIo7nTPRqCHAJK7rCJ3iF+5fjT4+m+0JSDOC6tkRNGtpXHWN3zvGVAmB+FTdxK/NTS4k65w39CRoh8anii7S74O6zIJzWIa2cRfEh09KJgIKNfWlGJqKClQ8pOfV9oiH5oz+BWTIajOGwuhDNNaxqcMa62frXGpgIMwQ1fDhJVBj8jNvdpko/BXTOE8eBvQ0MwcGxh+8lNHW1fhJI767p6+4j7mDje19gCDX9Rb5yP/srtQEDgW2urF0eSpc7tGTbMrDvUqt9pC+aacltan07uxzPNwXZr2d/blYGxisSS6JLtu90EtPvJRRLMP+VnwgFxteC2AFRo+lXt5hR7/0LJJlrOENFdEJae9wOP/JZkRdgWfJ+wQQ3F/e1gxCi4cKH16na3McKoQ2GeDF8ITn6XnR3uPlqspGpSx9GS6wfFReUgAqTu0BMux7yu/4r0R2w8swg89X3BpV4AEGef0TWi42qPhxmMBNc6kntwJDS5FKs7Fzdi5zWTmM9shhLUgDMKDWK0VLvfaxkbi6KEBNDj+XuOSE7Gc5Cr87EReFxKO47DSWqqip85RDrbmhRqaD2wzWRRN+ycnDzWLEP8vKgBVVznwAdB7POftU4a9z2gYrMZk4Z+C9G7JllhbE8QH5VPXtmSRevKDH9cRI6ceK8aQT1LUdNsTnZnGAZ0cSDu82Zj8z6JkIbHTFmGbo2M+VfojO4BsHwnPGO99pAci6iki/xUrJZO5YN/GyshoGCaoPk1jR4wHSpGMExY8TV1t6TmPlMHbn6lcBA+ImNwDFAB4SEI6I34RWeFMgm/ucNj+LYG+id0gZZ6KlK5z+WvSINmwuTw4MvkRU+EAfXviAWMRPHaJWqZuIg6bfqywxFDx5YVRi3fccCGF0Fl8jiXRqGeTOr3KCd9xHj4RrI5X5ZDcjOlicGZvijVZ8CGqou0vEzb162Q8vaXaze7JSXrEeTWXbT7wpj/4No0er6EuKhevGjhkhuSsTlgOO41BnnKGTxDrYmVzXre2UPtF15RV3lxnZZRVC18PH3HYm5LRqXCpQ29FKXakCwYsQRunD/101SK+ESZH/Nk7Z0VHlYqWra41AbTxcZP1va8aBbcml7uEEt2YCmMEqQbeYv/VFer2T6x2PWkkQ/fE5ldJXB7EhsWfPo1NQYkaQScx/QfN1A2PjS7I6IIfTC3hi5lh6kSTCyGqo3HlFu1UNF+ddrUkvN+VygbnvBiB6W49vH77gpOz/Pz1Wa22Nii3GDF69b1r5MHKSWFOEIwMpMj4KHsNfhaF/wRhIrOtAfjPwPVhc337RX4ECz8T70hiKW/vIEziY7Rh3jw5ud5sLEebvevlxfw1bFntqFxiIH6XJC65HRauLynkuEyf+XOXYwhHDoma4+nr6zn2ctM/AG8mZy/9rWpaZK34uw1dqkZh/+0wgk+REqRjln2ebgmCx6bKAqKnyX0Qeni1VqCCe+cHnd/st5s2Watfo3cY0JXG2oi3P0o3QLBWw79vU6LsbBWvduumrqEJiAu+9lOJJWunOuqrNrd0I2cDRm0exobLumAAhoIqEl+QJxYeqthUDRYMJX24C9EqKw47mjlvWUlL68MOoAyb8/aZhj/B1ck7Ts1Od7UY41uPalRIa9XJ8Unx8mbDayUPJJIEhPCg6B4sCg0dMufYwjy91xZzwKYlBF4QeqHu29dlGodCywekYkqk1aD2Y57DE9rWx1SDKnslTKT0kgvBZkF0U7D76XeHlZ3kU4l8Nqu/3hCR+NRy5wgOi0Q+oDCfm7QdXrvnFnmtGgtrKuNygh3MfnXfrZqykd0n4zEQAiQ3blf9BtsgTrWbU8TPhN3hyaVCokOrKMgnMpr0QQk5gyIBYsPdFdGv2H33IMTlUx+jALHGS0QVy5C+TscC7iwUUD7WKlCnc6mfwHzHfagGsG+4/nn+00AGoJjfnAcFFPa/hLlOWxqABgO46X2QYvgZYTlNHeNaiLz3Yfpk9HY+ICoeRQdwNrCUOM+/NCUsSTqh1ohPAFdW8pN7dX6AZyYjWAvdBPJVuMp9GSiqFylnRcCjPmXFytl2R5SEJ0Adx7nkBBNOQMM7PJ4eQxVTu7MHHPqFE4uVNc+dlCPgjB8th/FgXjadHXCtHLfxvBGlStnOMEi9IapIlikLfKyRZcDQ7wWLbCHRfXKdzpVwAAODTEdmxWB6hYrxXml9CGz7+KB6msdaHBuuRyRu1d1lHSHGyFS8Rwp68gjv9S7rUwwA8u/oVoVG27TNst0y4z/nPmUOQ+VE4hbLn6V+cb+rir16LCIqywquiZ3vPwmPP0ObdIkjIzXNR6RMWbVTBRC5K71+CejEay5P8TCXyWJuqsdbGiPjVv7viEP7KyZyNhr+PzGezCkGYiSNzjXBs7j/rLywvv93rODQa771ycDvbgQKCpr5H07whcG46oEY6xyW5B0r6NcvGMmGbP8O7skEbS/KUbpCJA1osexLBkZ+ypKyYSX5mpynUr7Rzola1plk1+0AqTYP+UVp9uA5OdKhoULCpcNumW/LIKwAQig6kzumMPdoWuUtowZe+WF7MHnRFRa2mbiQUMkg4ugfhXv3CMLr7dI0FSHo6EYU1dMW0YKwf/KoA1kP1i+fcJf/XQsqEWiwwbnjjW10QnhJCnCJit+mHK85gNHkurHoH9H1Gup02NXPYuVr++ETFHpmU4YbJlugz6u4Ro9aofFdmlfEonIe7I1j9UV8TdAlXHM33GuRRyD1mj2iWN+n9v//32k+UAxnxFGCrhXw4S6DZ8wHewM0Z9Rm5KxxmJbciDqzS2rHnK5CE9IjJ4eqKx51Y/B42ux7/B0ko2/P61dX6llf7bRhkYMrAt6uD6IfviFPPC8wsaFIx0VgtSVqMgTQ8BBbDosockJgukxJTwK1wdi/+Ur7jIqWFm6TEY65VEJAX4Wt7AXZfUmCYa5blDSIltuT5nEPz/XyFdGMj0hKm/DYVh7IMCG5VgJ2mn7qLtuOdHSexVdG7P/QMRU9QkabhSh+Tbiyid2F2YcRj4dYltthK1OOzMB67QkMB5N2TnUaeUOu74ZVabnpa3LaqIaEWjZoTQnGEhqDH9H41I7Lc9FQJs+/V3jgR9aEe8FdjqaCAgvWJo9n7xBIo/yZ4WsYVe9Fz3tm4ek8qYkVqjCAt+xNzoLW2CI7IVlKw5RhwpXpFcN63kDxQUE+aFdCQCrC5fet8cqeA0ysoHu1sMe1ykgd6vuf+UQayvr6a5yeankR/BrCfK8steU26Kc4MnsifXAQFDAhvPS3/OCgklI38Dr4joYLeROxvw3Q9UxsvxHeqNrk9x0KUBW+8frxvo/I2RM6k3dADAzmhs5IYj1j0Bg3QwnYnFe4kH28tZDhTRaXVgf9ODjWOXUDSbebTh8LVNOQYLMRL0lUkx05Dr+m0AO6F7lYhR1mTgbQJd7eKhv2k8Gwz10Kjb+Gzi1gbYRBV/8g/HyGwdxrRmdnciz1j0ZvgHLjut24Y0JUkStp6rV8vu9bx6JpVnK5hnJiu7da3XgpaTXSNctk23uoWPKKlzY1lsRKJgi3JEllZsp+/IGCvLkn78BI0XS4uHu6f29QN9imBdHwzMM6yvcvBj1QoHkcKQow9P6P4rTgpK02MNNOgNTc/FgUUSR0A0uOJjh31SlwQWnDt605r4P/71cHJ+bjgwzB12r8CcdUpyF1g4XXJ6bSAJ+veta32+e28i0ZhlrB1Qmviv5lh3E+49GPaHsDjeoYOdivH6IlmRyAD6q75ABa3T/Q1SulRtaOo/LK4qB6MMhMKUoDsQAMMC7c6ygL/5+WPARXhw4YSjvXw/uYnxWvNvyz8GgDrWa4vlHoaSGrnv05KXrDdXcmsVYb3EzzaRgxx5rU1D7I8hlzMu1c63SIJdzKzwi0X3qg5I1brXdaa04nShzeLvZ+xzqYlxIGFMb2je4OjFUAz6GYs/UzQvXlVWEHtBHsXr5HpgrXDpe6ThCTNdlKLbOqvIuX1LwVUjpFWCHlqwecSvEWx3F+LZqihX/OCxlliKfsS1uFCaT7t/t7vt8ELAt4ll0US3LTZ119MwV0WTNFN2fPQpswt4uPosF0IWbNyRb2pDwG9bRWXuxBJdbkCssZCvUsSV5gV69Ac3lwh1WvivAGhHoUzYVao3mA0IcL1nJHvwpbxvsZfUUZchMNWZDPVqV8zre70aFQ0vRk/F/fqq4LPouwGK7wH18h0wRXThs9Ibx/9GOTDKc27tZAKEcWCxKe58pg9OAArqJJvLv4UfMTZzTmMpf0voH8BuMM782tt6dsan5rRx71H2KNhzjceIz7v376MBHyDtSAalBSdSmXXzTHrmzhPdhQRRuci1i8tKnDkykpIk+hG41Uh037kAvX4cMqpr6/7p25FA15Kv3wAq7X8Xm54p5xEIE6VcMT9r5GtpWm/rVuSghRwNLDlNqT2pTVTqAywVSp5QqP/E8OIFQcSAkzm7PBTv6JIlbtQ4iKGai79iEmW63y3Qhs+5m25vUopJyt3sEqHqcfMmhtoVlyoqWX1idbedjlT1YTeULZiUbup7U1VXgjg7UOJ2+OIk53HD9njrLG9rRRtD1WzErmLAS3UAXiBlBEWXigAK98tyltmMEMrv2QyAbgMCif6zkViVvMyjyvogLgdXyctDqks6wgVgDQVRrMkAm0pwOCz8YL18RBpl5m7biGsHepodrcyaFcoRvMo7ZWO8HBiLczS1Z5L61g971y9oAEMB5ybInask1WU3F8yebQSA7XpzpkLXH9QigS5LL2k0n7P3AmOKFHGkJieFLkkXXQRVDkJGQG1LJBxTPXEsKV5RPdjbQak4bSErpeWkJxWJ2o/KXous24qiyxxXOi0SYR5sbmotsTTtXT85ZhyFQC1RoQ+sEQEegsrtRBnJmWGYvPDzYWa4DtTdxZLQEfk/UmMGGb35f/xixAlBFBKKjxHsqfGf6FfNZQtED9CXIcniVHvB97kUM1F7AFCUWBrVr8F0qppebHhWsApDpXYsMuTnMYtNIjqgQnXa+2LPMPpS3vzV6ejkPO1eWIOJZyRav7tb16Hj8jYPx2cPrfmYSxe+mbW6W+W3SF9xcRLk="/>
  <p:tag name="MEKKOXMLTAGS" val="1"/>
  <p:tag name="MEKKOGANTT" val="True"/>
</p:tagLst>
</file>

<file path=ppt/theme/theme1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447E40151A548BCC3024100D439D7" ma:contentTypeVersion="2" ma:contentTypeDescription="Create a new document." ma:contentTypeScope="" ma:versionID="b676d3435ed3973a543adbdc152f9909">
  <xsd:schema xmlns:xsd="http://www.w3.org/2001/XMLSchema" xmlns:xs="http://www.w3.org/2001/XMLSchema" xmlns:p="http://schemas.microsoft.com/office/2006/metadata/properties" xmlns:ns2="843e4f8c-c192-44a3-b7b9-8eb963ce6f5a" targetNamespace="http://schemas.microsoft.com/office/2006/metadata/properties" ma:root="true" ma:fieldsID="e859c7286ca555fc9107b05bef8e71f5" ns2:_="">
    <xsd:import namespace="843e4f8c-c192-44a3-b7b9-8eb963ce6f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e4f8c-c192-44a3-b7b9-8eb963ce6f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9671E00-7877-4B64-9735-F8552561662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C8E43B3E-6248-48BC-AA21-39CA05C9F4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3e4f8c-c192-44a3-b7b9-8eb963ce6f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95D5E19-053F-4623-8757-3320623AA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Template</Template>
  <TotalTime>110815</TotalTime>
  <Words>438</Words>
  <Application>Microsoft Office PowerPoint</Application>
  <PresentationFormat>On-screen Show (4:3)</PresentationFormat>
  <Paragraphs>107</Paragraphs>
  <Slides>14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MBTATemplate</vt:lpstr>
      <vt:lpstr>1_MBTATemplate</vt:lpstr>
      <vt:lpstr>The RIDE Update</vt:lpstr>
      <vt:lpstr>Summary</vt:lpstr>
      <vt:lpstr>PowerPoint Presentation</vt:lpstr>
      <vt:lpstr>RIDE PERFORMANCE: RIDERSHIP  Dedicated ridership returned to pre-TRAC levels with a significant jump in October</vt:lpstr>
      <vt:lpstr>RIDE PERFORMANCE: RIDERSHIP  Dedicated ridership is flat; total ridership including Uber/Lyft is up 7% year-over-year</vt:lpstr>
      <vt:lpstr>RIDE PERFORMANCE: ON-TIME PERFORMANCE OTP has remained strong during the transition period</vt:lpstr>
      <vt:lpstr>RIDE PERFORMANCE: EXCESSIVELY LATE TRIPS Pick-ups greater than 30 minutes late continue to stay below target</vt:lpstr>
      <vt:lpstr>RIDE PERFORMANCE: MISSED TRIPS Missed trips have stabilized at the lowest levels in years, but are still above target</vt:lpstr>
      <vt:lpstr>RIDE PERFORMANCE: CUSTOMER SATISFACTION Complaints have spiked since the VTS transition but are trending downward</vt:lpstr>
      <vt:lpstr>CONTINUOUS IMPROVEMENT The RIDE continues to focus on improving service in the near and long term</vt:lpstr>
      <vt:lpstr>CONTINUOUS IMPROVEMENT: SOFTWARE PROCUREMENT A state-of-the-art software system is essential to the future of The RIDE</vt:lpstr>
      <vt:lpstr>CONTINUOUS IMPROVEMENT: SOFTWARE PROCUREMENT The procurement team has developed a strong contract to drive performance</vt:lpstr>
      <vt:lpstr>CONTINUOUS IMPROVEMENT: SOFTWARE PROCUREMENT Contract award is expected in early 2019, with initial implementation in the summer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easley</dc:creator>
  <cp:lastModifiedBy>Paula Fallon</cp:lastModifiedBy>
  <cp:revision>2817</cp:revision>
  <cp:lastPrinted>2018-11-15T17:59:26Z</cp:lastPrinted>
  <dcterms:created xsi:type="dcterms:W3CDTF">2016-05-13T14:52:40Z</dcterms:created>
  <dcterms:modified xsi:type="dcterms:W3CDTF">2018-11-23T15:2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447E40151A548BCC3024100D439D7</vt:lpwstr>
  </property>
</Properties>
</file>